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701" r:id="rId1"/>
    <p:sldMasterId id="2147483798" r:id="rId2"/>
    <p:sldMasterId id="2147483812" r:id="rId3"/>
  </p:sldMasterIdLst>
  <p:notesMasterIdLst>
    <p:notesMasterId r:id="rId19"/>
  </p:notesMasterIdLst>
  <p:handoutMasterIdLst>
    <p:handoutMasterId r:id="rId20"/>
  </p:handoutMasterIdLst>
  <p:sldIdLst>
    <p:sldId id="312" r:id="rId4"/>
    <p:sldId id="313" r:id="rId5"/>
    <p:sldId id="332" r:id="rId6"/>
    <p:sldId id="341" r:id="rId7"/>
    <p:sldId id="324" r:id="rId8"/>
    <p:sldId id="336" r:id="rId9"/>
    <p:sldId id="342" r:id="rId10"/>
    <p:sldId id="325" r:id="rId11"/>
    <p:sldId id="337" r:id="rId12"/>
    <p:sldId id="338" r:id="rId13"/>
    <p:sldId id="339" r:id="rId14"/>
    <p:sldId id="327" r:id="rId15"/>
    <p:sldId id="340" r:id="rId16"/>
    <p:sldId id="329" r:id="rId17"/>
    <p:sldId id="335" r:id="rId18"/>
  </p:sldIdLst>
  <p:sldSz cx="10693400" cy="7561263"/>
  <p:notesSz cx="6858000" cy="9926638"/>
  <p:custDataLst>
    <p:tags r:id="rId21"/>
  </p:custDataLst>
  <p:defaultTextStyle>
    <a:defPPr>
      <a:defRPr lang="de-DE"/>
    </a:defPPr>
    <a:lvl1pPr marL="0" algn="l" defTabSz="99569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1pPr>
    <a:lvl2pPr marL="497845" algn="l" defTabSz="99569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2pPr>
    <a:lvl3pPr marL="995690" algn="l" defTabSz="99569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3pPr>
    <a:lvl4pPr marL="1493535" algn="l" defTabSz="99569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4pPr>
    <a:lvl5pPr marL="1991380" algn="l" defTabSz="99569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5pPr>
    <a:lvl6pPr marL="2489225" algn="l" defTabSz="99569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2987070" algn="l" defTabSz="99569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3484916" algn="l" defTabSz="99569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3982761" algn="l" defTabSz="99569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3" orient="horz" pos="4468" userDrawn="1">
          <p15:clr>
            <a:srgbClr val="A4A3A4"/>
          </p15:clr>
        </p15:guide>
        <p15:guide id="4" pos="3345" userDrawn="1">
          <p15:clr>
            <a:srgbClr val="A4A3A4"/>
          </p15:clr>
        </p15:guide>
        <p15:guide id="5" orient="horz" pos="318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FFE8D6"/>
    <a:srgbClr val="F5231B"/>
    <a:srgbClr val="555555"/>
    <a:srgbClr val="C2A89D"/>
    <a:srgbClr val="F7F3ED"/>
    <a:srgbClr val="F1F6E6"/>
    <a:srgbClr val="F1F617"/>
    <a:srgbClr val="C6E7CC"/>
    <a:srgbClr val="ACDF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85" autoAdjust="0"/>
    <p:restoredTop sz="81512" autoAdjust="0"/>
  </p:normalViewPr>
  <p:slideViewPr>
    <p:cSldViewPr snapToGrid="0">
      <p:cViewPr varScale="1">
        <p:scale>
          <a:sx n="84" d="100"/>
          <a:sy n="84" d="100"/>
        </p:scale>
        <p:origin x="2022" y="96"/>
      </p:cViewPr>
      <p:guideLst>
        <p:guide orient="horz" pos="4468"/>
        <p:guide pos="3345"/>
        <p:guide orient="horz" pos="31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3" Type="http://schemas.openxmlformats.org/officeDocument/2006/relationships/slideMaster" Target="slideMasters/slideMaster3.xml"/><Relationship Id="rId21" Type="http://schemas.openxmlformats.org/officeDocument/2006/relationships/tags" Target="tags/tag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theme" Target="theme/theme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viewProps" Target="viewProps.xml"/><Relationship Id="rId10" Type="http://schemas.openxmlformats.org/officeDocument/2006/relationships/slide" Target="slides/slide7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E750C59-D1D1-4CF8-A5C8-BF6FE77EED9D}" type="datetimeFigureOut">
              <a:rPr lang="de-DE" smtClean="0"/>
              <a:t>19.09.2017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718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9429750"/>
            <a:ext cx="29718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4BC6F4A-349B-444D-B35E-3481DBA21A5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39445475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71800" cy="496332"/>
          </a:xfrm>
          <a:prstGeom prst="rect">
            <a:avLst/>
          </a:prstGeom>
        </p:spPr>
        <p:txBody>
          <a:bodyPr vert="horz" lIns="95939" tIns="47969" rIns="95939" bIns="47969" rtlCol="0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96332"/>
          </a:xfrm>
          <a:prstGeom prst="rect">
            <a:avLst/>
          </a:prstGeom>
        </p:spPr>
        <p:txBody>
          <a:bodyPr vert="horz" lIns="95939" tIns="47969" rIns="95939" bIns="47969" rtlCol="0"/>
          <a:lstStyle>
            <a:lvl1pPr algn="r">
              <a:defRPr sz="1300"/>
            </a:lvl1pPr>
          </a:lstStyle>
          <a:p>
            <a:fld id="{AE89736C-33E1-4D73-8584-7092582AEF83}" type="datetimeFigureOut">
              <a:rPr lang="de-DE" smtClean="0"/>
              <a:pPr/>
              <a:t>19.09.2017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796925" y="744538"/>
            <a:ext cx="526415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939" tIns="47969" rIns="95939" bIns="47969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715153"/>
            <a:ext cx="5486400" cy="4466987"/>
          </a:xfrm>
          <a:prstGeom prst="rect">
            <a:avLst/>
          </a:prstGeom>
        </p:spPr>
        <p:txBody>
          <a:bodyPr vert="horz" lIns="95939" tIns="47969" rIns="95939" bIns="47969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9428583"/>
            <a:ext cx="2971800" cy="496332"/>
          </a:xfrm>
          <a:prstGeom prst="rect">
            <a:avLst/>
          </a:prstGeom>
        </p:spPr>
        <p:txBody>
          <a:bodyPr vert="horz" lIns="95939" tIns="47969" rIns="95939" bIns="47969" rtlCol="0" anchor="b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9428583"/>
            <a:ext cx="2971800" cy="496332"/>
          </a:xfrm>
          <a:prstGeom prst="rect">
            <a:avLst/>
          </a:prstGeom>
        </p:spPr>
        <p:txBody>
          <a:bodyPr vert="horz" lIns="95939" tIns="47969" rIns="95939" bIns="47969" rtlCol="0" anchor="b"/>
          <a:lstStyle>
            <a:lvl1pPr algn="r">
              <a:defRPr sz="1300"/>
            </a:lvl1pPr>
          </a:lstStyle>
          <a:p>
            <a:fld id="{DBEE7B1B-09E6-4939-A88C-22AA4308BEB2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531071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9569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497845" algn="l" defTabSz="99569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995690" algn="l" defTabSz="99569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493535" algn="l" defTabSz="99569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991380" algn="l" defTabSz="99569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489225" algn="l" defTabSz="99569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987070" algn="l" defTabSz="99569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484916" algn="l" defTabSz="99569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982761" algn="l" defTabSz="99569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3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utoregressive Prozesse: heutiger Tag von gestern abhängig</a:t>
            </a:r>
          </a:p>
          <a:p>
            <a:r>
              <a:rPr lang="de-DE" sz="13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: </a:t>
            </a:r>
            <a:r>
              <a:rPr lang="de-DE" sz="13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oving</a:t>
            </a:r>
            <a:r>
              <a:rPr lang="de-DE" sz="13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verage Prozesse (gewichtete Summe aus der Vergangenheit)</a:t>
            </a:r>
          </a:p>
          <a:p>
            <a:r>
              <a:rPr lang="de-DE" sz="13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ima</a:t>
            </a:r>
            <a:r>
              <a:rPr lang="de-DE" sz="13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: ARMA für nicht stationäre (Erwartungswert und Varianz sind zeitunabhängig) ZR</a:t>
            </a:r>
          </a:p>
          <a:p>
            <a:r>
              <a:rPr lang="de-DE" sz="13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arch</a:t>
            </a:r>
            <a:r>
              <a:rPr lang="de-DE" sz="13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(</a:t>
            </a:r>
            <a:r>
              <a:rPr lang="de-DE" sz="13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eneral</a:t>
            </a:r>
            <a:r>
              <a:rPr lang="de-DE" sz="13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utoregressive </a:t>
            </a:r>
            <a:r>
              <a:rPr lang="de-DE" sz="13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ditional</a:t>
            </a:r>
            <a:r>
              <a:rPr lang="de-DE" sz="13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3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eteroskedasticity</a:t>
            </a:r>
            <a:r>
              <a:rPr lang="de-DE" sz="13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) : </a:t>
            </a:r>
            <a:r>
              <a:rPr lang="de-DE" sz="1400" i="0" dirty="0" smtClean="0"/>
              <a:t>Volatilität-Modelle für nicht stationäre ZR</a:t>
            </a:r>
            <a:r>
              <a:rPr lang="de-DE" sz="13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(analog ARCH)</a:t>
            </a:r>
          </a:p>
          <a:p>
            <a:r>
              <a:rPr lang="de-DE" sz="13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rkov</a:t>
            </a:r>
            <a:r>
              <a:rPr lang="de-DE" sz="13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Kette: </a:t>
            </a:r>
            <a:r>
              <a:rPr lang="de-DE" sz="1400" dirty="0" err="1" smtClean="0"/>
              <a:t>probablilistischer</a:t>
            </a:r>
            <a:r>
              <a:rPr lang="de-DE" sz="1400" dirty="0" smtClean="0"/>
              <a:t> endlicher Automat </a:t>
            </a:r>
          </a:p>
          <a:p>
            <a:r>
              <a:rPr lang="de-DE" sz="1400" dirty="0" smtClean="0"/>
              <a:t>Fourier: Frequenzspektrum wird einer</a:t>
            </a:r>
            <a:r>
              <a:rPr lang="de-DE" sz="1400" baseline="0" dirty="0" smtClean="0"/>
              <a:t> ZR zugeordnet =&gt; Möglich wenige </a:t>
            </a:r>
            <a:r>
              <a:rPr lang="de-DE" sz="1400" baseline="0" dirty="0" err="1" smtClean="0"/>
              <a:t>Frquenzen</a:t>
            </a:r>
            <a:r>
              <a:rPr lang="de-DE" sz="1400" baseline="0" dirty="0" smtClean="0"/>
              <a:t> (Attribute) beschreiben ZR =&gt; </a:t>
            </a:r>
            <a:r>
              <a:rPr lang="de-DE" sz="1400" baseline="0" dirty="0" err="1" smtClean="0"/>
              <a:t>Clusteranalyser</a:t>
            </a:r>
            <a:r>
              <a:rPr lang="de-DE" sz="1400" baseline="0" dirty="0" smtClean="0"/>
              <a:t> der Koeffizien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27487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773908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5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7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7.bin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8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2CE0E-5488-4713-8C6A-B01860531EE8}" type="datetime1">
              <a:rPr lang="de-DE" smtClean="0"/>
              <a:t>19.09.2017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 smtClean="0"/>
              <a:t>CDO-Orga: Welcome Kick-Off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472373" y="2647254"/>
            <a:ext cx="3581400" cy="258762"/>
          </a:xfrm>
        </p:spPr>
        <p:txBody>
          <a:bodyPr/>
          <a:lstStyle>
            <a:lvl1pPr marL="0" indent="0">
              <a:buFontTx/>
              <a:buNone/>
              <a:defRPr sz="1200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20"/>
          </p:nvPr>
        </p:nvSpPr>
        <p:spPr>
          <a:xfrm>
            <a:off x="468700" y="3130742"/>
            <a:ext cx="9756000" cy="725544"/>
          </a:xfrm>
        </p:spPr>
        <p:txBody>
          <a:bodyPr/>
          <a:lstStyle>
            <a:lvl1pPr marL="0" indent="0">
              <a:buFontTx/>
              <a:buNone/>
              <a:defRPr sz="2200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21"/>
          </p:nvPr>
        </p:nvSpPr>
        <p:spPr>
          <a:xfrm>
            <a:off x="468700" y="5333682"/>
            <a:ext cx="2332038" cy="686117"/>
          </a:xfrm>
        </p:spPr>
        <p:txBody>
          <a:bodyPr/>
          <a:lstStyle>
            <a:lvl1pPr marL="0" indent="0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cxnSp>
        <p:nvCxnSpPr>
          <p:cNvPr id="10" name="Gerader Verbinder 9"/>
          <p:cNvCxnSpPr/>
          <p:nvPr userDrawn="1"/>
        </p:nvCxnSpPr>
        <p:spPr>
          <a:xfrm>
            <a:off x="468700" y="2911640"/>
            <a:ext cx="9782603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17192425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Verhältnis 1/2 zu 1/2) Li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2052638"/>
            <a:ext cx="4752000" cy="4968876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463947" y="2052638"/>
            <a:ext cx="4752000" cy="497717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558585FF-4C42-451B-A9DB-BE759D4065B7}" type="datetime1">
              <a:rPr lang="de-DE" smtClean="0"/>
              <a:t>19.09.20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 smtClean="0"/>
              <a:t>CDO-Orga: Welcome Kick-Off</a:t>
            </a:r>
            <a:endParaRPr lang="de-DE" dirty="0"/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Inhaltsplatzhalter 10"/>
          <p:cNvSpPr>
            <a:spLocks noGrp="1"/>
          </p:cNvSpPr>
          <p:nvPr>
            <p:ph sz="quarter" idx="14"/>
          </p:nvPr>
        </p:nvSpPr>
        <p:spPr>
          <a:xfrm>
            <a:off x="468700" y="1584000"/>
            <a:ext cx="4752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9" name="Inhaltsplatzhalter 10"/>
          <p:cNvSpPr>
            <a:spLocks noGrp="1"/>
          </p:cNvSpPr>
          <p:nvPr>
            <p:ph sz="quarter" idx="15"/>
          </p:nvPr>
        </p:nvSpPr>
        <p:spPr>
          <a:xfrm>
            <a:off x="5463947" y="1584000"/>
            <a:ext cx="4752000" cy="271463"/>
          </a:xfrm>
        </p:spPr>
        <p:txBody>
          <a:bodyPr/>
          <a:lstStyle>
            <a:lvl1pPr marL="0" indent="0" rtl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cxnSp>
        <p:nvCxnSpPr>
          <p:cNvPr id="10" name="Gerader Verbinder 9"/>
          <p:cNvCxnSpPr/>
          <p:nvPr userDrawn="1"/>
        </p:nvCxnSpPr>
        <p:spPr>
          <a:xfrm>
            <a:off x="459947" y="1860550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 userDrawn="1"/>
        </p:nvCxnSpPr>
        <p:spPr>
          <a:xfrm>
            <a:off x="5463947" y="1860550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15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7078233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 Li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854F1255-BA61-43DD-BD4E-432978400E31}" type="datetime1">
              <a:rPr lang="de-DE" smtClean="0"/>
              <a:t>19.09.20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 smtClean="0"/>
              <a:t>CDO-Orga: Welcome Kick-Off</a:t>
            </a:r>
            <a:endParaRPr lang="de-DE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2000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3" name="Gerader Verbinder 12"/>
          <p:cNvCxnSpPr/>
          <p:nvPr userDrawn="1"/>
        </p:nvCxnSpPr>
        <p:spPr>
          <a:xfrm>
            <a:off x="459947" y="1882441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Inhaltsplatzhalter 10"/>
          <p:cNvSpPr>
            <a:spLocks noGrp="1"/>
          </p:cNvSpPr>
          <p:nvPr>
            <p:ph sz="quarter" idx="17"/>
          </p:nvPr>
        </p:nvSpPr>
        <p:spPr>
          <a:xfrm>
            <a:off x="5464800" y="2052000"/>
            <a:ext cx="4752000" cy="2088000"/>
          </a:xfrm>
        </p:spPr>
        <p:txBody>
          <a:bodyPr/>
          <a:lstStyle>
            <a:lvl1pPr marL="180975" indent="-180975" rtl="0">
              <a:buFont typeface="Wingdings" panose="05000000000000000000" pitchFamily="2" charset="2"/>
              <a:buChar char="§"/>
              <a:defRPr sz="1600" b="0"/>
            </a:lvl1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cxnSp>
        <p:nvCxnSpPr>
          <p:cNvPr id="16" name="Gerader Verbinder 15"/>
          <p:cNvCxnSpPr/>
          <p:nvPr userDrawn="1"/>
        </p:nvCxnSpPr>
        <p:spPr>
          <a:xfrm>
            <a:off x="5464800" y="1882101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Inhaltsplatzhalter 10"/>
          <p:cNvSpPr>
            <a:spLocks noGrp="1"/>
          </p:cNvSpPr>
          <p:nvPr>
            <p:ph sz="quarter" idx="18"/>
          </p:nvPr>
        </p:nvSpPr>
        <p:spPr>
          <a:xfrm>
            <a:off x="460800" y="1584000"/>
            <a:ext cx="4752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cxnSp>
        <p:nvCxnSpPr>
          <p:cNvPr id="18" name="Gerader Verbinder 17"/>
          <p:cNvCxnSpPr/>
          <p:nvPr userDrawn="1"/>
        </p:nvCxnSpPr>
        <p:spPr>
          <a:xfrm>
            <a:off x="459947" y="4718821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Inhaltsplatzhalter 10"/>
          <p:cNvSpPr>
            <a:spLocks noGrp="1"/>
          </p:cNvSpPr>
          <p:nvPr>
            <p:ph sz="quarter" idx="19"/>
          </p:nvPr>
        </p:nvSpPr>
        <p:spPr>
          <a:xfrm>
            <a:off x="460800" y="4927696"/>
            <a:ext cx="4752000" cy="2088000"/>
          </a:xfrm>
        </p:spPr>
        <p:txBody>
          <a:bodyPr/>
          <a:lstStyle>
            <a:lvl1pPr marL="180975" indent="-180975" rtl="0">
              <a:buFont typeface="Wingdings" panose="05000000000000000000" pitchFamily="2" charset="2"/>
              <a:buChar char="§"/>
              <a:defRPr sz="1600" b="0"/>
            </a:lvl1pPr>
            <a:lvl2pPr marL="714375" indent="-217488">
              <a:buFont typeface="Wingdings" panose="05000000000000000000" pitchFamily="2" charset="2"/>
              <a:buChar char="§"/>
              <a:defRPr/>
            </a:lvl2pPr>
            <a:lvl3pPr marL="1244613" indent="-248923">
              <a:buFont typeface="Wingdings" panose="05000000000000000000" pitchFamily="2" charset="2"/>
              <a:buChar char="§"/>
              <a:defRPr/>
            </a:lvl3pPr>
            <a:lvl4pPr marL="1742458" indent="-248923">
              <a:buFont typeface="Wingdings" panose="05000000000000000000" pitchFamily="2" charset="2"/>
              <a:buChar char="§"/>
              <a:defRPr/>
            </a:lvl4pPr>
            <a:lvl5pPr marL="2240303" indent="-248923"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cxnSp>
        <p:nvCxnSpPr>
          <p:cNvPr id="21" name="Gerader Verbinder 20"/>
          <p:cNvCxnSpPr/>
          <p:nvPr userDrawn="1"/>
        </p:nvCxnSpPr>
        <p:spPr>
          <a:xfrm>
            <a:off x="5464800" y="4718821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24" name="Inhaltsplatzhalter 10"/>
          <p:cNvSpPr>
            <a:spLocks noGrp="1"/>
          </p:cNvSpPr>
          <p:nvPr>
            <p:ph sz="quarter" idx="25"/>
          </p:nvPr>
        </p:nvSpPr>
        <p:spPr>
          <a:xfrm>
            <a:off x="5464800" y="4927696"/>
            <a:ext cx="4752000" cy="2088000"/>
          </a:xfrm>
        </p:spPr>
        <p:txBody>
          <a:bodyPr/>
          <a:lstStyle>
            <a:lvl1pPr marL="180975" indent="-180975" rtl="0">
              <a:buFont typeface="Wingdings" panose="05000000000000000000" pitchFamily="2" charset="2"/>
              <a:buChar char="§"/>
              <a:defRPr sz="1600" b="0"/>
            </a:lvl1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5" name="Inhaltsplatzhalter 2"/>
          <p:cNvSpPr>
            <a:spLocks noGrp="1"/>
          </p:cNvSpPr>
          <p:nvPr>
            <p:ph sz="half" idx="26"/>
          </p:nvPr>
        </p:nvSpPr>
        <p:spPr>
          <a:xfrm>
            <a:off x="460800" y="4437489"/>
            <a:ext cx="4752000" cy="270000"/>
          </a:xfrm>
        </p:spPr>
        <p:txBody>
          <a:bodyPr>
            <a:normAutofit/>
          </a:bodyPr>
          <a:lstStyle>
            <a:lvl1pPr marL="0" indent="0">
              <a:buNone/>
              <a:defRPr sz="1600" b="1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26" name="Inhaltsplatzhalter 3"/>
          <p:cNvSpPr>
            <a:spLocks noGrp="1"/>
          </p:cNvSpPr>
          <p:nvPr>
            <p:ph sz="half" idx="27"/>
          </p:nvPr>
        </p:nvSpPr>
        <p:spPr>
          <a:xfrm>
            <a:off x="5464800" y="1584000"/>
            <a:ext cx="4752000" cy="270000"/>
          </a:xfrm>
        </p:spPr>
        <p:txBody>
          <a:bodyPr>
            <a:normAutofit/>
          </a:bodyPr>
          <a:lstStyle>
            <a:lvl1pPr marL="0" indent="0">
              <a:buNone/>
              <a:defRPr sz="1600" b="1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27" name="Inhaltsplatzhalter 2"/>
          <p:cNvSpPr>
            <a:spLocks noGrp="1"/>
          </p:cNvSpPr>
          <p:nvPr>
            <p:ph sz="half" idx="14"/>
          </p:nvPr>
        </p:nvSpPr>
        <p:spPr>
          <a:xfrm>
            <a:off x="459947" y="2050726"/>
            <a:ext cx="4752000" cy="2088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8" name="Inhaltsplatzhalter 3"/>
          <p:cNvSpPr>
            <a:spLocks noGrp="1"/>
          </p:cNvSpPr>
          <p:nvPr>
            <p:ph sz="half" idx="28"/>
          </p:nvPr>
        </p:nvSpPr>
        <p:spPr>
          <a:xfrm>
            <a:off x="5464800" y="4437489"/>
            <a:ext cx="4752000" cy="270000"/>
          </a:xfrm>
        </p:spPr>
        <p:txBody>
          <a:bodyPr>
            <a:normAutofit/>
          </a:bodyPr>
          <a:lstStyle>
            <a:lvl1pPr marL="0" indent="0">
              <a:buNone/>
              <a:defRPr sz="1600" b="1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23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26244258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palten Li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0800" y="2052637"/>
            <a:ext cx="3096000" cy="496983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7119947" y="2051681"/>
            <a:ext cx="3096000" cy="496983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B36DE67E-7D71-4D57-AB3F-44973BAC4CFB}" type="datetime1">
              <a:rPr lang="de-DE" smtClean="0"/>
              <a:t>19.09.20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 smtClean="0"/>
              <a:t>CDO-Orga: Welcome Kick-Off</a:t>
            </a:r>
            <a:endParaRPr lang="de-DE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2000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Inhaltsplatzhalter 10"/>
          <p:cNvSpPr>
            <a:spLocks noGrp="1"/>
          </p:cNvSpPr>
          <p:nvPr>
            <p:ph sz="quarter" idx="16"/>
          </p:nvPr>
        </p:nvSpPr>
        <p:spPr>
          <a:xfrm>
            <a:off x="460800" y="1584000"/>
            <a:ext cx="3096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cxnSp>
        <p:nvCxnSpPr>
          <p:cNvPr id="13" name="Gerader Verbinder 12"/>
          <p:cNvCxnSpPr/>
          <p:nvPr userDrawn="1"/>
        </p:nvCxnSpPr>
        <p:spPr>
          <a:xfrm>
            <a:off x="459947" y="1860550"/>
            <a:ext cx="3096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Inhaltsplatzhalter 10"/>
          <p:cNvSpPr>
            <a:spLocks noGrp="1"/>
          </p:cNvSpPr>
          <p:nvPr>
            <p:ph sz="quarter" idx="17"/>
          </p:nvPr>
        </p:nvSpPr>
        <p:spPr>
          <a:xfrm>
            <a:off x="7119947" y="1584000"/>
            <a:ext cx="3096000" cy="271463"/>
          </a:xfrm>
        </p:spPr>
        <p:txBody>
          <a:bodyPr/>
          <a:lstStyle>
            <a:lvl1pPr marL="0" indent="0" rtl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cxnSp>
        <p:nvCxnSpPr>
          <p:cNvPr id="16" name="Gerader Verbinder 15"/>
          <p:cNvCxnSpPr/>
          <p:nvPr userDrawn="1"/>
        </p:nvCxnSpPr>
        <p:spPr>
          <a:xfrm>
            <a:off x="7113169" y="1859594"/>
            <a:ext cx="3096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Inhaltsplatzhalter 3"/>
          <p:cNvSpPr>
            <a:spLocks noGrp="1"/>
          </p:cNvSpPr>
          <p:nvPr>
            <p:ph sz="half" idx="20"/>
          </p:nvPr>
        </p:nvSpPr>
        <p:spPr>
          <a:xfrm>
            <a:off x="3789947" y="2051681"/>
            <a:ext cx="3096000" cy="496983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2" name="Inhaltsplatzhalter 10"/>
          <p:cNvSpPr>
            <a:spLocks noGrp="1"/>
          </p:cNvSpPr>
          <p:nvPr>
            <p:ph sz="quarter" idx="21"/>
          </p:nvPr>
        </p:nvSpPr>
        <p:spPr>
          <a:xfrm>
            <a:off x="3789947" y="1584000"/>
            <a:ext cx="3096000" cy="271463"/>
          </a:xfrm>
        </p:spPr>
        <p:txBody>
          <a:bodyPr/>
          <a:lstStyle>
            <a:lvl1pPr marL="0" indent="0" rtl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cxnSp>
        <p:nvCxnSpPr>
          <p:cNvPr id="23" name="Gerader Verbinder 22"/>
          <p:cNvCxnSpPr/>
          <p:nvPr userDrawn="1"/>
        </p:nvCxnSpPr>
        <p:spPr>
          <a:xfrm>
            <a:off x="3783169" y="1859594"/>
            <a:ext cx="3096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18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68700" y="7162028"/>
            <a:ext cx="2709429" cy="142424"/>
          </a:xfrm>
        </p:spPr>
        <p:txBody>
          <a:bodyPr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8947999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palten Li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0800" y="2052637"/>
            <a:ext cx="2268000" cy="496887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46ABD5F7-C19A-4DE8-8132-081A805DDF05}" type="datetime1">
              <a:rPr lang="de-DE" smtClean="0"/>
              <a:t>19.09.20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 smtClean="0"/>
              <a:t>CDO-Orga: Welcome Kick-Off</a:t>
            </a:r>
            <a:endParaRPr lang="de-DE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2000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Inhaltsplatzhalter 10"/>
          <p:cNvSpPr>
            <a:spLocks noGrp="1"/>
          </p:cNvSpPr>
          <p:nvPr>
            <p:ph sz="quarter" idx="16"/>
          </p:nvPr>
        </p:nvSpPr>
        <p:spPr>
          <a:xfrm>
            <a:off x="460800" y="1584000"/>
            <a:ext cx="2268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cxnSp>
        <p:nvCxnSpPr>
          <p:cNvPr id="13" name="Gerader Verbinder 12"/>
          <p:cNvCxnSpPr/>
          <p:nvPr userDrawn="1"/>
        </p:nvCxnSpPr>
        <p:spPr>
          <a:xfrm>
            <a:off x="459947" y="1860550"/>
            <a:ext cx="22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Inhaltsplatzhalter 2"/>
          <p:cNvSpPr>
            <a:spLocks noGrp="1"/>
          </p:cNvSpPr>
          <p:nvPr>
            <p:ph sz="half" idx="17"/>
          </p:nvPr>
        </p:nvSpPr>
        <p:spPr>
          <a:xfrm>
            <a:off x="2973296" y="2052637"/>
            <a:ext cx="2268000" cy="496887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2" name="Inhaltsplatzhalter 10"/>
          <p:cNvSpPr>
            <a:spLocks noGrp="1"/>
          </p:cNvSpPr>
          <p:nvPr>
            <p:ph sz="quarter" idx="18"/>
          </p:nvPr>
        </p:nvSpPr>
        <p:spPr>
          <a:xfrm>
            <a:off x="2974794" y="1584000"/>
            <a:ext cx="2268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cxnSp>
        <p:nvCxnSpPr>
          <p:cNvPr id="23" name="Gerader Verbinder 22"/>
          <p:cNvCxnSpPr/>
          <p:nvPr userDrawn="1"/>
        </p:nvCxnSpPr>
        <p:spPr>
          <a:xfrm>
            <a:off x="2968016" y="1860550"/>
            <a:ext cx="22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Inhaltsplatzhalter 2"/>
          <p:cNvSpPr>
            <a:spLocks noGrp="1"/>
          </p:cNvSpPr>
          <p:nvPr>
            <p:ph sz="half" idx="19"/>
          </p:nvPr>
        </p:nvSpPr>
        <p:spPr>
          <a:xfrm>
            <a:off x="5467809" y="2052637"/>
            <a:ext cx="2268000" cy="4968875"/>
          </a:xfrm>
        </p:spPr>
        <p:txBody>
          <a:bodyPr>
            <a:normAutofit/>
          </a:bodyPr>
          <a:lstStyle>
            <a:lvl1pPr rtl="0">
              <a:defRPr sz="1600"/>
            </a:lvl1pPr>
            <a:lvl2pPr rtl="0">
              <a:defRPr sz="1600"/>
            </a:lvl2pPr>
            <a:lvl3pPr rtl="0">
              <a:defRPr sz="1600"/>
            </a:lvl3pPr>
            <a:lvl4pPr rtl="0">
              <a:defRPr sz="1600"/>
            </a:lvl4pPr>
            <a:lvl5pPr rtl="0"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5" name="Inhaltsplatzhalter 10"/>
          <p:cNvSpPr>
            <a:spLocks noGrp="1"/>
          </p:cNvSpPr>
          <p:nvPr>
            <p:ph sz="quarter" idx="20"/>
          </p:nvPr>
        </p:nvSpPr>
        <p:spPr>
          <a:xfrm>
            <a:off x="5469307" y="1584000"/>
            <a:ext cx="2268000" cy="271463"/>
          </a:xfrm>
        </p:spPr>
        <p:txBody>
          <a:bodyPr/>
          <a:lstStyle>
            <a:lvl1pPr marL="0" indent="0" rtl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cxnSp>
        <p:nvCxnSpPr>
          <p:cNvPr id="26" name="Gerader Verbinder 25"/>
          <p:cNvCxnSpPr/>
          <p:nvPr userDrawn="1"/>
        </p:nvCxnSpPr>
        <p:spPr>
          <a:xfrm>
            <a:off x="5462529" y="1860550"/>
            <a:ext cx="22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Inhaltsplatzhalter 2"/>
          <p:cNvSpPr>
            <a:spLocks noGrp="1"/>
          </p:cNvSpPr>
          <p:nvPr>
            <p:ph sz="half" idx="21"/>
          </p:nvPr>
        </p:nvSpPr>
        <p:spPr>
          <a:xfrm>
            <a:off x="7946449" y="2052637"/>
            <a:ext cx="2268000" cy="4968875"/>
          </a:xfrm>
        </p:spPr>
        <p:txBody>
          <a:bodyPr>
            <a:normAutofit/>
          </a:bodyPr>
          <a:lstStyle>
            <a:lvl1pPr rtl="0">
              <a:defRPr sz="1600"/>
            </a:lvl1pPr>
            <a:lvl2pPr rtl="0">
              <a:defRPr sz="1600"/>
            </a:lvl2pPr>
            <a:lvl3pPr rtl="0">
              <a:defRPr sz="1600"/>
            </a:lvl3pPr>
            <a:lvl4pPr rtl="0">
              <a:defRPr sz="1600"/>
            </a:lvl4pPr>
            <a:lvl5pPr rtl="0"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8" name="Inhaltsplatzhalter 10"/>
          <p:cNvSpPr>
            <a:spLocks noGrp="1"/>
          </p:cNvSpPr>
          <p:nvPr>
            <p:ph sz="quarter" idx="22"/>
          </p:nvPr>
        </p:nvSpPr>
        <p:spPr>
          <a:xfrm>
            <a:off x="7945200" y="1584000"/>
            <a:ext cx="2268000" cy="271463"/>
          </a:xfrm>
        </p:spPr>
        <p:txBody>
          <a:bodyPr/>
          <a:lstStyle>
            <a:lvl1pPr marL="0" indent="0" rtl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cxnSp>
        <p:nvCxnSpPr>
          <p:cNvPr id="29" name="Gerader Verbinder 28"/>
          <p:cNvCxnSpPr/>
          <p:nvPr userDrawn="1"/>
        </p:nvCxnSpPr>
        <p:spPr>
          <a:xfrm>
            <a:off x="7941169" y="1860550"/>
            <a:ext cx="22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20" name="Textplatzhalter 9"/>
          <p:cNvSpPr>
            <a:spLocks noGrp="1"/>
          </p:cNvSpPr>
          <p:nvPr>
            <p:ph type="body" sz="quarter" idx="24"/>
          </p:nvPr>
        </p:nvSpPr>
        <p:spPr>
          <a:xfrm>
            <a:off x="468700" y="7162028"/>
            <a:ext cx="2709429" cy="142424"/>
          </a:xfrm>
        </p:spPr>
        <p:txBody>
          <a:bodyPr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13290090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hne Platzh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5D4AE1E3-3EFB-4FDC-BEF2-697EF40BD53D}" type="datetime1">
              <a:rPr lang="de-DE" smtClean="0"/>
              <a:t>19.09.20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 smtClean="0"/>
              <a:t>CDO-Orga: Welcome Kick-Off</a:t>
            </a:r>
            <a:endParaRPr lang="de-DE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2000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8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20" name="Textplatzhalter 9"/>
          <p:cNvSpPr>
            <a:spLocks noGrp="1"/>
          </p:cNvSpPr>
          <p:nvPr>
            <p:ph type="body" sz="quarter" idx="24"/>
          </p:nvPr>
        </p:nvSpPr>
        <p:spPr>
          <a:xfrm>
            <a:off x="468700" y="7162028"/>
            <a:ext cx="2709429" cy="142424"/>
          </a:xfrm>
        </p:spPr>
        <p:txBody>
          <a:bodyPr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5444929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 userDrawn="1"/>
        </p:nvSpPr>
        <p:spPr>
          <a:xfrm>
            <a:off x="155448" y="82296"/>
            <a:ext cx="10287000" cy="738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995913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58C9E3-8DDB-4C0D-B131-8BE756C31928}" type="datetime1">
              <a:rPr lang="de-DE" smtClean="0"/>
              <a:t>19.09.2017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 smtClean="0"/>
              <a:t>CDO-Orga: Welcome Kick-Off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472373" y="2647254"/>
            <a:ext cx="3581400" cy="258762"/>
          </a:xfrm>
        </p:spPr>
        <p:txBody>
          <a:bodyPr/>
          <a:lstStyle>
            <a:lvl1pPr marL="0" indent="0">
              <a:buFontTx/>
              <a:buNone/>
              <a:defRPr sz="1200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20"/>
          </p:nvPr>
        </p:nvSpPr>
        <p:spPr>
          <a:xfrm>
            <a:off x="468700" y="3130742"/>
            <a:ext cx="9756000" cy="725544"/>
          </a:xfrm>
        </p:spPr>
        <p:txBody>
          <a:bodyPr/>
          <a:lstStyle>
            <a:lvl1pPr marL="0" indent="0">
              <a:buFontTx/>
              <a:buNone/>
              <a:defRPr sz="2200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21"/>
          </p:nvPr>
        </p:nvSpPr>
        <p:spPr>
          <a:xfrm>
            <a:off x="468700" y="5333682"/>
            <a:ext cx="2332038" cy="686117"/>
          </a:xfrm>
        </p:spPr>
        <p:txBody>
          <a:bodyPr/>
          <a:lstStyle>
            <a:lvl1pPr marL="0" indent="0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10" name="Gerader Verbinder 9"/>
          <p:cNvCxnSpPr/>
          <p:nvPr userDrawn="1"/>
        </p:nvCxnSpPr>
        <p:spPr>
          <a:xfrm>
            <a:off x="468700" y="2911640"/>
            <a:ext cx="9782603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271650020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828152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30" name="think-cell Folie" r:id="rId4" imgW="532" imgH="530" progId="TCLayout.ActiveDocument.1">
                  <p:embed/>
                </p:oleObj>
              </mc:Choice>
              <mc:Fallback>
                <p:oleObj name="think-cell Folie" r:id="rId4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Titelmasterformat durch Klicken bearbeiten</a:t>
            </a:r>
            <a:br>
              <a:rPr lang="de-DE" dirty="0"/>
            </a:br>
            <a:r>
              <a:rPr lang="de-DE" dirty="0"/>
              <a:t>Musterheadline zum Foliensatz, zweizeilig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1584325"/>
            <a:ext cx="9756000" cy="540067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 anchor="b"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1A0E5539-D4DE-4918-9DA7-2B133DB5C73F}" type="datetime1">
              <a:rPr lang="de-DE" smtClean="0"/>
              <a:t>19.09.20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 anchor="b"/>
          <a:lstStyle/>
          <a:p>
            <a:pPr algn="r"/>
            <a:r>
              <a:rPr lang="de-DE" smtClean="0"/>
              <a:t>CDO-Orga: Welcome Kick-Off</a:t>
            </a:r>
            <a:endParaRPr lang="de-DE" dirty="0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72825" y="711325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39502243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59946" y="603508"/>
            <a:ext cx="9782603" cy="676948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Titelmasterformat durch Klicken bearbeiten</a:t>
            </a:r>
            <a:br>
              <a:rPr lang="de-DE" dirty="0"/>
            </a:br>
            <a:r>
              <a:rPr lang="de-DE" dirty="0"/>
              <a:t>Musterheadline zum Foliensatz, zweizeilig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6" y="2052637"/>
            <a:ext cx="9756000" cy="496887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 anchor="b"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E0F42776-161D-4589-B095-CC0C87083B52}" type="datetime1">
              <a:rPr lang="de-DE" smtClean="0"/>
              <a:t>19.09.20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 anchor="b"/>
          <a:lstStyle/>
          <a:p>
            <a:pPr algn="r"/>
            <a:r>
              <a:rPr lang="de-DE" smtClean="0"/>
              <a:t>CDO-Orga: Welcome Kick-Off</a:t>
            </a:r>
            <a:endParaRPr lang="de-DE" dirty="0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907749" y="711325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Inhaltsplatzhalter 10"/>
          <p:cNvSpPr>
            <a:spLocks noGrp="1"/>
          </p:cNvSpPr>
          <p:nvPr>
            <p:ph sz="quarter" idx="15"/>
          </p:nvPr>
        </p:nvSpPr>
        <p:spPr>
          <a:xfrm>
            <a:off x="466725" y="1589087"/>
            <a:ext cx="9756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8" name="Gerader Verbinder 7"/>
          <p:cNvCxnSpPr/>
          <p:nvPr userDrawn="1"/>
        </p:nvCxnSpPr>
        <p:spPr>
          <a:xfrm>
            <a:off x="459947" y="1860550"/>
            <a:ext cx="9782603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9947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2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6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258136087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Verhältnis 1/3 zu 2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  <a:br>
              <a:rPr lang="de-DE" dirty="0"/>
            </a:br>
            <a:r>
              <a:rPr lang="de-DE" dirty="0"/>
              <a:t>Musterheadline zum Foliensatz, zweizeilig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2052111"/>
            <a:ext cx="3168000" cy="4932889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879947" y="2052638"/>
            <a:ext cx="6336000" cy="4938446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08403A66-8684-4545-BDD0-2A4C2487DCE6}" type="datetime1">
              <a:rPr lang="de-DE" smtClean="0"/>
              <a:t>19.09.20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 smtClean="0"/>
              <a:t>CDO-Orga: Welcome Kick-Off</a:t>
            </a:r>
            <a:endParaRPr lang="de-DE" dirty="0"/>
          </a:p>
        </p:txBody>
      </p:sp>
      <p:sp>
        <p:nvSpPr>
          <p:cNvPr id="1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fld id="{DADFEA48-2D48-4EF5-B029-0B8993B9B72D}" type="slidenum">
              <a:rPr lang="de-DE" smtClean="0"/>
              <a:pPr algn="r"/>
              <a:t>‹Nr.›</a:t>
            </a:fld>
            <a:endParaRPr lang="de-DE" dirty="0"/>
          </a:p>
        </p:txBody>
      </p:sp>
      <p:sp>
        <p:nvSpPr>
          <p:cNvPr id="8" name="Inhaltsplatzhalter 10"/>
          <p:cNvSpPr>
            <a:spLocks noGrp="1"/>
          </p:cNvSpPr>
          <p:nvPr>
            <p:ph sz="quarter" idx="15"/>
          </p:nvPr>
        </p:nvSpPr>
        <p:spPr>
          <a:xfrm>
            <a:off x="466725" y="1589087"/>
            <a:ext cx="3161222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9" name="Inhaltsplatzhalter 10"/>
          <p:cNvSpPr>
            <a:spLocks noGrp="1"/>
          </p:cNvSpPr>
          <p:nvPr>
            <p:ph sz="quarter" idx="16"/>
          </p:nvPr>
        </p:nvSpPr>
        <p:spPr>
          <a:xfrm>
            <a:off x="3879947" y="1589087"/>
            <a:ext cx="6336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11" name="Gerader Verbinder 10"/>
          <p:cNvCxnSpPr/>
          <p:nvPr userDrawn="1"/>
        </p:nvCxnSpPr>
        <p:spPr>
          <a:xfrm>
            <a:off x="459947" y="1860550"/>
            <a:ext cx="31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 userDrawn="1"/>
        </p:nvCxnSpPr>
        <p:spPr>
          <a:xfrm>
            <a:off x="3879947" y="1860550"/>
            <a:ext cx="6336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6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191887218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96925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99" name="think-cell Folie" r:id="rId4" imgW="532" imgH="530" progId="TCLayout.ActiveDocument.1">
                  <p:embed/>
                </p:oleObj>
              </mc:Choice>
              <mc:Fallback>
                <p:oleObj name="think-cell Folie" r:id="rId4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Titelmasterformat durch Klicken bearbeiten</a:t>
            </a:r>
            <a:br>
              <a:rPr lang="de-DE" dirty="0" smtClean="0"/>
            </a:br>
            <a:r>
              <a:rPr lang="de-DE" dirty="0" smtClean="0"/>
              <a:t>Musterheadline zum Foliensatz, zweizeilig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1584325"/>
            <a:ext cx="9756000" cy="543718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 anchor="b"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192BE1D4-77AA-4492-8CFB-FD6ACC944656}" type="datetime1">
              <a:rPr lang="de-DE" smtClean="0"/>
              <a:t>19.09.20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 anchor="b"/>
          <a:lstStyle/>
          <a:p>
            <a:pPr algn="r"/>
            <a:r>
              <a:rPr lang="de-DE" smtClean="0"/>
              <a:t>CDO-Orga: Welcome Kick-Off</a:t>
            </a:r>
            <a:endParaRPr lang="de-DE" dirty="0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2000" y="711325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24297389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Verhätnis 2/3 zu 1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7047947" y="2052638"/>
            <a:ext cx="3168000" cy="494211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9947" y="2052638"/>
            <a:ext cx="6336000" cy="494211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4478D6C1-8CD8-470F-808B-DF305F6E06B9}" type="datetime1">
              <a:rPr lang="de-DE" smtClean="0"/>
              <a:t>19.09.20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 smtClean="0"/>
              <a:t>CDO-Orga: Welcome Kick-Off</a:t>
            </a:r>
            <a:endParaRPr lang="de-DE" dirty="0"/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Inhaltsplatzhalter 10"/>
          <p:cNvSpPr>
            <a:spLocks noGrp="1"/>
          </p:cNvSpPr>
          <p:nvPr>
            <p:ph sz="quarter" idx="15"/>
          </p:nvPr>
        </p:nvSpPr>
        <p:spPr>
          <a:xfrm>
            <a:off x="468700" y="1592708"/>
            <a:ext cx="631815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9" name="Inhaltsplatzhalter 10"/>
          <p:cNvSpPr>
            <a:spLocks noGrp="1"/>
          </p:cNvSpPr>
          <p:nvPr>
            <p:ph sz="quarter" idx="16"/>
          </p:nvPr>
        </p:nvSpPr>
        <p:spPr>
          <a:xfrm>
            <a:off x="7053689" y="1584325"/>
            <a:ext cx="3168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10" name="Gerader Verbinder 9"/>
          <p:cNvCxnSpPr/>
          <p:nvPr userDrawn="1"/>
        </p:nvCxnSpPr>
        <p:spPr>
          <a:xfrm>
            <a:off x="7074550" y="1855788"/>
            <a:ext cx="31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 userDrawn="1"/>
        </p:nvCxnSpPr>
        <p:spPr>
          <a:xfrm>
            <a:off x="450850" y="1855788"/>
            <a:ext cx="6336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5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185726036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Verhätnis 1/2 zu 1/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2052638"/>
            <a:ext cx="4752000" cy="4968876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463947" y="2052638"/>
            <a:ext cx="4752000" cy="497717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65CA0577-B0A2-45DB-B06D-C869CFD3D7A1}" type="datetime1">
              <a:rPr lang="de-DE" smtClean="0"/>
              <a:t>19.09.20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 smtClean="0"/>
              <a:t>CDO-Orga: Welcome Kick-Off</a:t>
            </a:r>
            <a:endParaRPr lang="de-DE" dirty="0"/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Inhaltsplatzhalter 10"/>
          <p:cNvSpPr>
            <a:spLocks noGrp="1"/>
          </p:cNvSpPr>
          <p:nvPr>
            <p:ph sz="quarter" idx="14"/>
          </p:nvPr>
        </p:nvSpPr>
        <p:spPr>
          <a:xfrm>
            <a:off x="468700" y="1601288"/>
            <a:ext cx="4752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9" name="Inhaltsplatzhalter 10"/>
          <p:cNvSpPr>
            <a:spLocks noGrp="1"/>
          </p:cNvSpPr>
          <p:nvPr>
            <p:ph sz="quarter" idx="15"/>
          </p:nvPr>
        </p:nvSpPr>
        <p:spPr>
          <a:xfrm>
            <a:off x="5463947" y="1599952"/>
            <a:ext cx="4752000" cy="271463"/>
          </a:xfrm>
        </p:spPr>
        <p:txBody>
          <a:bodyPr/>
          <a:lstStyle>
            <a:lvl1pPr marL="0" indent="0" rtl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10" name="Gerader Verbinder 9"/>
          <p:cNvCxnSpPr/>
          <p:nvPr userDrawn="1"/>
        </p:nvCxnSpPr>
        <p:spPr>
          <a:xfrm>
            <a:off x="459947" y="1860550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 userDrawn="1"/>
        </p:nvCxnSpPr>
        <p:spPr>
          <a:xfrm>
            <a:off x="5463947" y="1860550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5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25254379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D397703E-07FC-411C-8EF7-4A338F618897}" type="datetime1">
              <a:rPr lang="de-DE" smtClean="0"/>
              <a:t>19.09.20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 smtClean="0"/>
              <a:t>CDO-Orga: Welcome Kick-Off</a:t>
            </a:r>
            <a:endParaRPr lang="de-DE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99041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3" name="Gerader Verbinder 12"/>
          <p:cNvCxnSpPr/>
          <p:nvPr userDrawn="1"/>
        </p:nvCxnSpPr>
        <p:spPr>
          <a:xfrm>
            <a:off x="459947" y="1882441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Inhaltsplatzhalter 10"/>
          <p:cNvSpPr>
            <a:spLocks noGrp="1"/>
          </p:cNvSpPr>
          <p:nvPr>
            <p:ph sz="quarter" idx="17"/>
          </p:nvPr>
        </p:nvSpPr>
        <p:spPr>
          <a:xfrm>
            <a:off x="5481841" y="2070265"/>
            <a:ext cx="4752000" cy="2088000"/>
          </a:xfrm>
        </p:spPr>
        <p:txBody>
          <a:bodyPr/>
          <a:lstStyle>
            <a:lvl1pPr marL="180975" indent="-180975" rtl="0">
              <a:buFont typeface="Wingdings" panose="05000000000000000000" pitchFamily="2" charset="2"/>
              <a:buChar char="§"/>
              <a:defRPr sz="1600" b="0"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cxnSp>
        <p:nvCxnSpPr>
          <p:cNvPr id="16" name="Gerader Verbinder 15"/>
          <p:cNvCxnSpPr/>
          <p:nvPr userDrawn="1"/>
        </p:nvCxnSpPr>
        <p:spPr>
          <a:xfrm>
            <a:off x="5470725" y="1882101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Inhaltsplatzhalter 10"/>
          <p:cNvSpPr>
            <a:spLocks noGrp="1"/>
          </p:cNvSpPr>
          <p:nvPr>
            <p:ph sz="quarter" idx="18"/>
          </p:nvPr>
        </p:nvSpPr>
        <p:spPr>
          <a:xfrm>
            <a:off x="466725" y="1589087"/>
            <a:ext cx="4752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18" name="Gerader Verbinder 17"/>
          <p:cNvCxnSpPr/>
          <p:nvPr userDrawn="1"/>
        </p:nvCxnSpPr>
        <p:spPr>
          <a:xfrm>
            <a:off x="459947" y="4718821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Inhaltsplatzhalter 10"/>
          <p:cNvSpPr>
            <a:spLocks noGrp="1"/>
          </p:cNvSpPr>
          <p:nvPr>
            <p:ph sz="quarter" idx="19"/>
          </p:nvPr>
        </p:nvSpPr>
        <p:spPr>
          <a:xfrm>
            <a:off x="466725" y="4927696"/>
            <a:ext cx="4752000" cy="2088000"/>
          </a:xfrm>
        </p:spPr>
        <p:txBody>
          <a:bodyPr/>
          <a:lstStyle>
            <a:lvl1pPr marL="180975" indent="-180975" rtl="0">
              <a:buFont typeface="Wingdings" panose="05000000000000000000" pitchFamily="2" charset="2"/>
              <a:buChar char="§"/>
              <a:defRPr sz="1600" b="0"/>
            </a:lvl1pPr>
            <a:lvl2pPr marL="714375" indent="-217488">
              <a:buFont typeface="Wingdings" panose="05000000000000000000" pitchFamily="2" charset="2"/>
              <a:buChar char="§"/>
              <a:defRPr/>
            </a:lvl2pPr>
            <a:lvl3pPr marL="1244613" indent="-248923">
              <a:buFont typeface="Wingdings" panose="05000000000000000000" pitchFamily="2" charset="2"/>
              <a:buChar char="§"/>
              <a:defRPr/>
            </a:lvl3pPr>
            <a:lvl4pPr marL="1742458" indent="-248923">
              <a:buFont typeface="Wingdings" panose="05000000000000000000" pitchFamily="2" charset="2"/>
              <a:buChar char="§"/>
              <a:defRPr/>
            </a:lvl4pPr>
            <a:lvl5pPr marL="2240303" indent="-248923"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cxnSp>
        <p:nvCxnSpPr>
          <p:cNvPr id="21" name="Gerader Verbinder 20"/>
          <p:cNvCxnSpPr/>
          <p:nvPr userDrawn="1"/>
        </p:nvCxnSpPr>
        <p:spPr>
          <a:xfrm>
            <a:off x="5468285" y="4718821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24" name="Inhaltsplatzhalter 10"/>
          <p:cNvSpPr>
            <a:spLocks noGrp="1"/>
          </p:cNvSpPr>
          <p:nvPr>
            <p:ph sz="quarter" idx="25"/>
          </p:nvPr>
        </p:nvSpPr>
        <p:spPr>
          <a:xfrm>
            <a:off x="5490550" y="4927696"/>
            <a:ext cx="4752000" cy="2088000"/>
          </a:xfrm>
        </p:spPr>
        <p:txBody>
          <a:bodyPr/>
          <a:lstStyle>
            <a:lvl1pPr marL="180975" indent="-180975" rtl="0">
              <a:buFont typeface="Wingdings" panose="05000000000000000000" pitchFamily="2" charset="2"/>
              <a:buChar char="§"/>
              <a:defRPr sz="1600" b="0"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5" name="Inhaltsplatzhalter 2"/>
          <p:cNvSpPr>
            <a:spLocks noGrp="1"/>
          </p:cNvSpPr>
          <p:nvPr>
            <p:ph sz="half" idx="26"/>
          </p:nvPr>
        </p:nvSpPr>
        <p:spPr>
          <a:xfrm>
            <a:off x="456347" y="4437489"/>
            <a:ext cx="4752000" cy="270000"/>
          </a:xfrm>
        </p:spPr>
        <p:txBody>
          <a:bodyPr>
            <a:normAutofit/>
          </a:bodyPr>
          <a:lstStyle>
            <a:lvl1pPr marL="0" indent="0">
              <a:buNone/>
              <a:defRPr sz="1600" b="1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26" name="Inhaltsplatzhalter 3"/>
          <p:cNvSpPr>
            <a:spLocks noGrp="1"/>
          </p:cNvSpPr>
          <p:nvPr>
            <p:ph sz="half" idx="27"/>
          </p:nvPr>
        </p:nvSpPr>
        <p:spPr>
          <a:xfrm>
            <a:off x="5463947" y="1588747"/>
            <a:ext cx="4752000" cy="270000"/>
          </a:xfrm>
        </p:spPr>
        <p:txBody>
          <a:bodyPr>
            <a:normAutofit/>
          </a:bodyPr>
          <a:lstStyle>
            <a:lvl1pPr marL="0" indent="0">
              <a:buNone/>
              <a:defRPr sz="1600" b="1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27" name="Inhaltsplatzhalter 2"/>
          <p:cNvSpPr>
            <a:spLocks noGrp="1"/>
          </p:cNvSpPr>
          <p:nvPr>
            <p:ph sz="half" idx="14"/>
          </p:nvPr>
        </p:nvSpPr>
        <p:spPr>
          <a:xfrm>
            <a:off x="459947" y="2050726"/>
            <a:ext cx="4744800" cy="2088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8" name="Inhaltsplatzhalter 3"/>
          <p:cNvSpPr>
            <a:spLocks noGrp="1"/>
          </p:cNvSpPr>
          <p:nvPr>
            <p:ph sz="half" idx="28"/>
          </p:nvPr>
        </p:nvSpPr>
        <p:spPr>
          <a:xfrm>
            <a:off x="5468285" y="4437489"/>
            <a:ext cx="4752000" cy="270000"/>
          </a:xfrm>
        </p:spPr>
        <p:txBody>
          <a:bodyPr>
            <a:normAutofit/>
          </a:bodyPr>
          <a:lstStyle>
            <a:lvl1pPr marL="0" indent="0">
              <a:buNone/>
              <a:defRPr sz="1600" b="1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23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116495972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5227" y="2052637"/>
            <a:ext cx="3096000" cy="496983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7119947" y="2051681"/>
            <a:ext cx="3096000" cy="496983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572DC93-B577-428C-A7E9-D7A0637419F7}" type="datetime1">
              <a:rPr lang="de-DE" smtClean="0"/>
              <a:t>19.09.20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 smtClean="0"/>
              <a:t>CDO-Orga: Welcome Kick-Off</a:t>
            </a:r>
            <a:endParaRPr lang="de-DE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99041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Inhaltsplatzhalter 10"/>
          <p:cNvSpPr>
            <a:spLocks noGrp="1"/>
          </p:cNvSpPr>
          <p:nvPr>
            <p:ph sz="quarter" idx="16"/>
          </p:nvPr>
        </p:nvSpPr>
        <p:spPr>
          <a:xfrm>
            <a:off x="466725" y="1590433"/>
            <a:ext cx="3096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13" name="Gerader Verbinder 12"/>
          <p:cNvCxnSpPr/>
          <p:nvPr userDrawn="1"/>
        </p:nvCxnSpPr>
        <p:spPr>
          <a:xfrm>
            <a:off x="459947" y="1860550"/>
            <a:ext cx="3096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Inhaltsplatzhalter 10"/>
          <p:cNvSpPr>
            <a:spLocks noGrp="1"/>
          </p:cNvSpPr>
          <p:nvPr>
            <p:ph sz="quarter" idx="17"/>
          </p:nvPr>
        </p:nvSpPr>
        <p:spPr>
          <a:xfrm>
            <a:off x="7119947" y="1589477"/>
            <a:ext cx="3096000" cy="271463"/>
          </a:xfrm>
        </p:spPr>
        <p:txBody>
          <a:bodyPr/>
          <a:lstStyle>
            <a:lvl1pPr marL="0" indent="0" rtl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16" name="Gerader Verbinder 15"/>
          <p:cNvCxnSpPr/>
          <p:nvPr userDrawn="1"/>
        </p:nvCxnSpPr>
        <p:spPr>
          <a:xfrm>
            <a:off x="7113169" y="1859594"/>
            <a:ext cx="3096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Inhaltsplatzhalter 3"/>
          <p:cNvSpPr>
            <a:spLocks noGrp="1"/>
          </p:cNvSpPr>
          <p:nvPr>
            <p:ph sz="half" idx="20"/>
          </p:nvPr>
        </p:nvSpPr>
        <p:spPr>
          <a:xfrm>
            <a:off x="3789947" y="2051681"/>
            <a:ext cx="3096000" cy="496983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2" name="Inhaltsplatzhalter 10"/>
          <p:cNvSpPr>
            <a:spLocks noGrp="1"/>
          </p:cNvSpPr>
          <p:nvPr>
            <p:ph sz="quarter" idx="21"/>
          </p:nvPr>
        </p:nvSpPr>
        <p:spPr>
          <a:xfrm>
            <a:off x="3789947" y="1589477"/>
            <a:ext cx="3096000" cy="271463"/>
          </a:xfrm>
        </p:spPr>
        <p:txBody>
          <a:bodyPr/>
          <a:lstStyle>
            <a:lvl1pPr marL="0" indent="0" rtl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23" name="Gerader Verbinder 22"/>
          <p:cNvCxnSpPr/>
          <p:nvPr userDrawn="1"/>
        </p:nvCxnSpPr>
        <p:spPr>
          <a:xfrm>
            <a:off x="3783169" y="1859594"/>
            <a:ext cx="3096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8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68700" y="7162028"/>
            <a:ext cx="2709429" cy="142424"/>
          </a:xfrm>
        </p:spPr>
        <p:txBody>
          <a:bodyPr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212478727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5227" y="2052637"/>
            <a:ext cx="2268000" cy="496887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6EE7D5CD-A458-42B5-A3FC-7EE0732723C9}" type="datetime1">
              <a:rPr lang="de-DE" smtClean="0"/>
              <a:t>19.09.20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 smtClean="0"/>
              <a:t>CDO-Orga: Welcome Kick-Off</a:t>
            </a:r>
            <a:endParaRPr lang="de-DE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99041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Inhaltsplatzhalter 10"/>
          <p:cNvSpPr>
            <a:spLocks noGrp="1"/>
          </p:cNvSpPr>
          <p:nvPr>
            <p:ph sz="quarter" idx="16"/>
          </p:nvPr>
        </p:nvSpPr>
        <p:spPr>
          <a:xfrm>
            <a:off x="466725" y="1590433"/>
            <a:ext cx="2268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13" name="Gerader Verbinder 12"/>
          <p:cNvCxnSpPr/>
          <p:nvPr userDrawn="1"/>
        </p:nvCxnSpPr>
        <p:spPr>
          <a:xfrm>
            <a:off x="459947" y="1860550"/>
            <a:ext cx="22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Inhaltsplatzhalter 2"/>
          <p:cNvSpPr>
            <a:spLocks noGrp="1"/>
          </p:cNvSpPr>
          <p:nvPr>
            <p:ph sz="half" idx="17"/>
          </p:nvPr>
        </p:nvSpPr>
        <p:spPr>
          <a:xfrm>
            <a:off x="2973296" y="2052637"/>
            <a:ext cx="2268000" cy="496887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2" name="Inhaltsplatzhalter 10"/>
          <p:cNvSpPr>
            <a:spLocks noGrp="1"/>
          </p:cNvSpPr>
          <p:nvPr>
            <p:ph sz="quarter" idx="18"/>
          </p:nvPr>
        </p:nvSpPr>
        <p:spPr>
          <a:xfrm>
            <a:off x="2974794" y="1590433"/>
            <a:ext cx="2268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23" name="Gerader Verbinder 22"/>
          <p:cNvCxnSpPr/>
          <p:nvPr userDrawn="1"/>
        </p:nvCxnSpPr>
        <p:spPr>
          <a:xfrm>
            <a:off x="2968016" y="1860550"/>
            <a:ext cx="22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Inhaltsplatzhalter 2"/>
          <p:cNvSpPr>
            <a:spLocks noGrp="1"/>
          </p:cNvSpPr>
          <p:nvPr>
            <p:ph sz="half" idx="19"/>
          </p:nvPr>
        </p:nvSpPr>
        <p:spPr>
          <a:xfrm>
            <a:off x="5467809" y="2052637"/>
            <a:ext cx="2268000" cy="4968875"/>
          </a:xfrm>
        </p:spPr>
        <p:txBody>
          <a:bodyPr>
            <a:normAutofit/>
          </a:bodyPr>
          <a:lstStyle>
            <a:lvl1pPr rtl="0">
              <a:defRPr sz="1600"/>
            </a:lvl1pPr>
            <a:lvl2pPr rtl="0">
              <a:defRPr sz="1600"/>
            </a:lvl2pPr>
            <a:lvl3pPr rtl="0">
              <a:defRPr sz="1600"/>
            </a:lvl3pPr>
            <a:lvl4pPr rtl="0">
              <a:defRPr sz="1600"/>
            </a:lvl4pPr>
            <a:lvl5pPr rtl="0"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5" name="Inhaltsplatzhalter 10"/>
          <p:cNvSpPr>
            <a:spLocks noGrp="1"/>
          </p:cNvSpPr>
          <p:nvPr>
            <p:ph sz="quarter" idx="20"/>
          </p:nvPr>
        </p:nvSpPr>
        <p:spPr>
          <a:xfrm>
            <a:off x="5469307" y="1590433"/>
            <a:ext cx="2268000" cy="271463"/>
          </a:xfrm>
        </p:spPr>
        <p:txBody>
          <a:bodyPr/>
          <a:lstStyle>
            <a:lvl1pPr marL="0" indent="0" rtl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26" name="Gerader Verbinder 25"/>
          <p:cNvCxnSpPr/>
          <p:nvPr userDrawn="1"/>
        </p:nvCxnSpPr>
        <p:spPr>
          <a:xfrm>
            <a:off x="5462529" y="1860550"/>
            <a:ext cx="22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Inhaltsplatzhalter 2"/>
          <p:cNvSpPr>
            <a:spLocks noGrp="1"/>
          </p:cNvSpPr>
          <p:nvPr>
            <p:ph sz="half" idx="21"/>
          </p:nvPr>
        </p:nvSpPr>
        <p:spPr>
          <a:xfrm>
            <a:off x="7946449" y="2052637"/>
            <a:ext cx="2268000" cy="4968875"/>
          </a:xfrm>
        </p:spPr>
        <p:txBody>
          <a:bodyPr>
            <a:normAutofit/>
          </a:bodyPr>
          <a:lstStyle>
            <a:lvl1pPr rtl="0">
              <a:defRPr sz="1600"/>
            </a:lvl1pPr>
            <a:lvl2pPr rtl="0">
              <a:defRPr sz="1600"/>
            </a:lvl2pPr>
            <a:lvl3pPr rtl="0">
              <a:defRPr sz="1600"/>
            </a:lvl3pPr>
            <a:lvl4pPr rtl="0">
              <a:defRPr sz="1600"/>
            </a:lvl4pPr>
            <a:lvl5pPr rtl="0"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8" name="Inhaltsplatzhalter 10"/>
          <p:cNvSpPr>
            <a:spLocks noGrp="1"/>
          </p:cNvSpPr>
          <p:nvPr>
            <p:ph sz="quarter" idx="22"/>
          </p:nvPr>
        </p:nvSpPr>
        <p:spPr>
          <a:xfrm>
            <a:off x="7947947" y="1590433"/>
            <a:ext cx="2268000" cy="271463"/>
          </a:xfrm>
        </p:spPr>
        <p:txBody>
          <a:bodyPr/>
          <a:lstStyle>
            <a:lvl1pPr marL="0" indent="0" rtl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29" name="Gerader Verbinder 28"/>
          <p:cNvCxnSpPr/>
          <p:nvPr userDrawn="1"/>
        </p:nvCxnSpPr>
        <p:spPr>
          <a:xfrm>
            <a:off x="7941169" y="1860550"/>
            <a:ext cx="22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20" name="Textplatzhalter 9"/>
          <p:cNvSpPr>
            <a:spLocks noGrp="1"/>
          </p:cNvSpPr>
          <p:nvPr>
            <p:ph type="body" sz="quarter" idx="24"/>
          </p:nvPr>
        </p:nvSpPr>
        <p:spPr>
          <a:xfrm>
            <a:off x="468700" y="7162028"/>
            <a:ext cx="2709429" cy="142424"/>
          </a:xfrm>
        </p:spPr>
        <p:txBody>
          <a:bodyPr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286651676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hne Platzh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15" name="think-cell Folie" r:id="rId4" imgW="408" imgH="408" progId="TCLayout.ActiveDocument.1">
                  <p:embed/>
                </p:oleObj>
              </mc:Choice>
              <mc:Fallback>
                <p:oleObj name="think-cell Folie" r:id="rId4" imgW="408" imgH="408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97C583A4-2433-4738-8CCB-AB5276A47572}" type="datetime1">
              <a:rPr lang="de-DE" smtClean="0"/>
              <a:t>19.09.20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 smtClean="0"/>
              <a:t>CDO-Orga: Welcome Kick-Off</a:t>
            </a:r>
            <a:endParaRPr lang="de-DE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99041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8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20" name="Textplatzhalter 9"/>
          <p:cNvSpPr>
            <a:spLocks noGrp="1"/>
          </p:cNvSpPr>
          <p:nvPr>
            <p:ph type="body" sz="quarter" idx="24"/>
          </p:nvPr>
        </p:nvSpPr>
        <p:spPr>
          <a:xfrm>
            <a:off x="468700" y="7162028"/>
            <a:ext cx="2709429" cy="142424"/>
          </a:xfrm>
        </p:spPr>
        <p:txBody>
          <a:bodyPr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9785428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 userDrawn="1"/>
        </p:nvSpPr>
        <p:spPr>
          <a:xfrm>
            <a:off x="155448" y="82296"/>
            <a:ext cx="10287000" cy="738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3066372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Shape 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hape 16"/>
          <p:cNvSpPr txBox="1">
            <a:spLocks noGrp="1"/>
          </p:cNvSpPr>
          <p:nvPr>
            <p:ph type="title"/>
          </p:nvPr>
        </p:nvSpPr>
        <p:spPr>
          <a:xfrm>
            <a:off x="360001" y="392657"/>
            <a:ext cx="9071999" cy="338554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  <a:defRPr sz="22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  <a:defRPr sz="22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  <a:defRPr sz="22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  <a:defRPr sz="22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  <a:defRPr sz="22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532082" marR="0" lvl="5" indent="-24082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  <a:defRPr sz="22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1064163" marR="0" lvl="6" indent="-22762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  <a:defRPr sz="22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1596246" marR="0" lvl="7" indent="-21445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  <a:defRPr sz="22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2128327" marR="0" lvl="8" indent="-20127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  <a:defRPr sz="22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65739708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32_Titel und Inhalt">
    <p:spTree>
      <p:nvGrpSpPr>
        <p:cNvPr id="1" name="Shape 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Shape 22"/>
          <p:cNvSpPr txBox="1">
            <a:spLocks noGrp="1"/>
          </p:cNvSpPr>
          <p:nvPr>
            <p:ph type="title"/>
          </p:nvPr>
        </p:nvSpPr>
        <p:spPr>
          <a:xfrm>
            <a:off x="497141" y="613927"/>
            <a:ext cx="9725043" cy="71209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  <a:defRPr sz="2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>
              <a:spcBef>
                <a:spcPts val="0"/>
              </a:spcBef>
              <a:buNone/>
              <a:defRPr sz="1800"/>
            </a:lvl2pPr>
            <a:lvl3pPr lvl="2" indent="0">
              <a:spcBef>
                <a:spcPts val="0"/>
              </a:spcBef>
              <a:buNone/>
              <a:defRPr sz="1800"/>
            </a:lvl3pPr>
            <a:lvl4pPr lvl="3" indent="0">
              <a:spcBef>
                <a:spcPts val="0"/>
              </a:spcBef>
              <a:buNone/>
              <a:defRPr sz="1800"/>
            </a:lvl4pPr>
            <a:lvl5pPr lvl="4" indent="0">
              <a:spcBef>
                <a:spcPts val="0"/>
              </a:spcBef>
              <a:buNone/>
              <a:defRPr sz="1800"/>
            </a:lvl5pPr>
            <a:lvl6pPr lvl="5" indent="0">
              <a:spcBef>
                <a:spcPts val="0"/>
              </a:spcBef>
              <a:buNone/>
              <a:defRPr sz="1800"/>
            </a:lvl6pPr>
            <a:lvl7pPr lvl="6" indent="0">
              <a:spcBef>
                <a:spcPts val="0"/>
              </a:spcBef>
              <a:buNone/>
              <a:defRPr sz="1800"/>
            </a:lvl7pPr>
            <a:lvl8pPr lvl="7" indent="0">
              <a:spcBef>
                <a:spcPts val="0"/>
              </a:spcBef>
              <a:buNone/>
              <a:defRPr sz="1800"/>
            </a:lvl8pPr>
            <a:lvl9pPr lvl="8" indent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23" name="Shape 23"/>
          <p:cNvSpPr txBox="1">
            <a:spLocks noGrp="1"/>
          </p:cNvSpPr>
          <p:nvPr>
            <p:ph type="body" idx="1"/>
          </p:nvPr>
        </p:nvSpPr>
        <p:spPr>
          <a:xfrm>
            <a:off x="497141" y="1613073"/>
            <a:ext cx="9725043" cy="536995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182581" marR="0" lvl="0" indent="-80980" algn="l" rtl="0">
              <a:lnSpc>
                <a:spcPct val="100000"/>
              </a:lnSpc>
              <a:spcBef>
                <a:spcPts val="300"/>
              </a:spcBef>
              <a:buClr>
                <a:schemeClr val="dk1"/>
              </a:buClr>
              <a:buSzPct val="100000"/>
              <a:buFont typeface="Noto Sans Symbols"/>
              <a:buChar char="▪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357224" marR="0" lvl="1" indent="-77824" algn="l" rtl="0">
              <a:lnSpc>
                <a:spcPct val="100000"/>
              </a:lnSpc>
              <a:spcBef>
                <a:spcPts val="300"/>
              </a:spcBef>
              <a:buClr>
                <a:schemeClr val="dk1"/>
              </a:buClr>
              <a:buSzPct val="100000"/>
              <a:buFont typeface="Noto Sans Symbols"/>
              <a:buChar char="▪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539804" marR="0" lvl="2" indent="-82604" algn="l" rtl="0">
              <a:lnSpc>
                <a:spcPct val="100000"/>
              </a:lnSpc>
              <a:spcBef>
                <a:spcPts val="300"/>
              </a:spcBef>
              <a:buClr>
                <a:schemeClr val="dk1"/>
              </a:buClr>
              <a:buSzPct val="100000"/>
              <a:buFont typeface="Noto Sans Symbols"/>
              <a:buChar char="▪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712859" marR="0" lvl="3" indent="-77859" algn="l" rtl="0">
              <a:lnSpc>
                <a:spcPct val="100000"/>
              </a:lnSpc>
              <a:spcBef>
                <a:spcPts val="300"/>
              </a:spcBef>
              <a:buClr>
                <a:schemeClr val="dk1"/>
              </a:buClr>
              <a:buSzPct val="100000"/>
              <a:buFont typeface="Noto Sans Symbols"/>
              <a:buChar char="▪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895440" marR="0" lvl="4" indent="-82640" algn="l" rtl="0">
              <a:lnSpc>
                <a:spcPct val="100000"/>
              </a:lnSpc>
              <a:spcBef>
                <a:spcPts val="300"/>
              </a:spcBef>
              <a:buClr>
                <a:schemeClr val="dk1"/>
              </a:buClr>
              <a:buSzPct val="100000"/>
              <a:buFont typeface="Noto Sans Symbols"/>
              <a:buChar char="▪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72121" marR="0" lvl="5" indent="-131536" algn="l" rtl="0">
              <a:lnSpc>
                <a:spcPct val="90000"/>
              </a:lnSpc>
              <a:spcBef>
                <a:spcPts val="551"/>
              </a:spcBef>
              <a:buClr>
                <a:schemeClr val="dk1"/>
              </a:buClr>
              <a:buSzPct val="99200"/>
              <a:buFont typeface="Arial"/>
              <a:buChar char="•"/>
              <a:defRPr sz="1984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76143" marR="0" lvl="6" indent="-127559" algn="l" rtl="0">
              <a:lnSpc>
                <a:spcPct val="90000"/>
              </a:lnSpc>
              <a:spcBef>
                <a:spcPts val="551"/>
              </a:spcBef>
              <a:buClr>
                <a:schemeClr val="dk1"/>
              </a:buClr>
              <a:buSzPct val="99200"/>
              <a:buFont typeface="Arial"/>
              <a:buChar char="•"/>
              <a:defRPr sz="1984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780165" marR="0" lvl="7" indent="-136280" algn="l" rtl="0">
              <a:lnSpc>
                <a:spcPct val="90000"/>
              </a:lnSpc>
              <a:spcBef>
                <a:spcPts val="551"/>
              </a:spcBef>
              <a:buClr>
                <a:schemeClr val="dk1"/>
              </a:buClr>
              <a:buSzPct val="99200"/>
              <a:buFont typeface="Arial"/>
              <a:buChar char="•"/>
              <a:defRPr sz="1984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284186" marR="0" lvl="8" indent="-132302" algn="l" rtl="0">
              <a:lnSpc>
                <a:spcPct val="90000"/>
              </a:lnSpc>
              <a:spcBef>
                <a:spcPts val="551"/>
              </a:spcBef>
              <a:buClr>
                <a:schemeClr val="dk1"/>
              </a:buClr>
              <a:buSzPct val="99200"/>
              <a:buFont typeface="Arial"/>
              <a:buChar char="•"/>
              <a:defRPr sz="1984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4" name="Shape 24"/>
          <p:cNvSpPr txBox="1">
            <a:spLocks noGrp="1"/>
          </p:cNvSpPr>
          <p:nvPr>
            <p:ph type="dt" idx="10"/>
          </p:nvPr>
        </p:nvSpPr>
        <p:spPr>
          <a:xfrm>
            <a:off x="9310352" y="7092597"/>
            <a:ext cx="540182" cy="252052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Font typeface="Arial"/>
              <a:buNone/>
              <a:defRPr sz="8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CE28322D-A222-43E5-9902-53874B658132}" type="datetime1">
              <a:rPr lang="de-DE" smtClean="0"/>
              <a:t>19.09.2017</a:t>
            </a:fld>
            <a:endParaRPr/>
          </a:p>
        </p:txBody>
      </p:sp>
      <p:sp>
        <p:nvSpPr>
          <p:cNvPr id="25" name="Shape 25"/>
          <p:cNvSpPr txBox="1">
            <a:spLocks noGrp="1"/>
          </p:cNvSpPr>
          <p:nvPr>
            <p:ph type="ftr" idx="11"/>
          </p:nvPr>
        </p:nvSpPr>
        <p:spPr>
          <a:xfrm>
            <a:off x="4247980" y="7092597"/>
            <a:ext cx="3609023" cy="252052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Font typeface="Arial"/>
              <a:buNone/>
              <a:defRPr sz="8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de-DE" smtClean="0"/>
              <a:t>CDO-Orga: Welcome Kick-Off</a:t>
            </a:r>
            <a:endParaRPr/>
          </a:p>
        </p:txBody>
      </p:sp>
      <p:sp>
        <p:nvSpPr>
          <p:cNvPr id="26" name="Shape 26"/>
          <p:cNvSpPr txBox="1">
            <a:spLocks noGrp="1"/>
          </p:cNvSpPr>
          <p:nvPr>
            <p:ph type="sldNum" idx="12"/>
          </p:nvPr>
        </p:nvSpPr>
        <p:spPr>
          <a:xfrm>
            <a:off x="9905122" y="7092597"/>
            <a:ext cx="334499" cy="252052"/>
          </a:xfrm>
          <a:prstGeom prst="rect">
            <a:avLst/>
          </a:prstGeom>
          <a:noFill/>
          <a:ln>
            <a:noFill/>
          </a:ln>
        </p:spPr>
        <p:txBody>
          <a:bodyPr lIns="0" tIns="45700" rIns="0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ct val="25000"/>
              <a:buFont typeface="Arial"/>
              <a:buNone/>
            </a:pPr>
            <a:fld id="{00000000-1234-1234-1234-123412341234}" type="slidenum">
              <a:rPr lang="en-US"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‹Nr.›</a:t>
            </a:fld>
            <a:endParaRPr lang="en-US" sz="1000" b="0" i="0" u="none" strike="noStrike" cap="none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" name="Shape 27"/>
          <p:cNvSpPr txBox="1">
            <a:spLocks noGrp="1"/>
          </p:cNvSpPr>
          <p:nvPr>
            <p:ph type="body" idx="2"/>
          </p:nvPr>
        </p:nvSpPr>
        <p:spPr>
          <a:xfrm>
            <a:off x="507775" y="7124757"/>
            <a:ext cx="2709830" cy="25179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300"/>
              </a:spcBef>
              <a:buClr>
                <a:srgbClr val="7F7F7F"/>
              </a:buClr>
              <a:buFont typeface="Noto Sans Symbols"/>
              <a:buNone/>
              <a:defRPr sz="8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82581" marR="0" lvl="1" indent="-4780" algn="l" rtl="0">
              <a:lnSpc>
                <a:spcPct val="100000"/>
              </a:lnSpc>
              <a:spcBef>
                <a:spcPts val="300"/>
              </a:spcBef>
              <a:buClr>
                <a:schemeClr val="dk1"/>
              </a:buClr>
              <a:buFont typeface="Noto Sans Symbols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57223" marR="0" lvl="2" indent="-1623" algn="l" rtl="0">
              <a:lnSpc>
                <a:spcPct val="100000"/>
              </a:lnSpc>
              <a:spcBef>
                <a:spcPts val="300"/>
              </a:spcBef>
              <a:buClr>
                <a:schemeClr val="dk1"/>
              </a:buClr>
              <a:buFont typeface="Noto Sans Symbols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539804" marR="0" lvl="3" indent="-6404" algn="l" rtl="0">
              <a:lnSpc>
                <a:spcPct val="100000"/>
              </a:lnSpc>
              <a:spcBef>
                <a:spcPts val="300"/>
              </a:spcBef>
              <a:buClr>
                <a:schemeClr val="dk1"/>
              </a:buClr>
              <a:buFont typeface="Noto Sans Symbols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712858" marR="0" lvl="4" indent="-1657" algn="l" rtl="0">
              <a:lnSpc>
                <a:spcPct val="100000"/>
              </a:lnSpc>
              <a:spcBef>
                <a:spcPts val="300"/>
              </a:spcBef>
              <a:buClr>
                <a:schemeClr val="dk1"/>
              </a:buClr>
              <a:buFont typeface="Noto Sans Symbols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72121" marR="0" lvl="5" indent="-131536" algn="l" rtl="0">
              <a:lnSpc>
                <a:spcPct val="90000"/>
              </a:lnSpc>
              <a:spcBef>
                <a:spcPts val="551"/>
              </a:spcBef>
              <a:buClr>
                <a:schemeClr val="dk1"/>
              </a:buClr>
              <a:buSzPct val="99200"/>
              <a:buFont typeface="Arial"/>
              <a:buChar char="•"/>
              <a:defRPr sz="1984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76143" marR="0" lvl="6" indent="-127559" algn="l" rtl="0">
              <a:lnSpc>
                <a:spcPct val="90000"/>
              </a:lnSpc>
              <a:spcBef>
                <a:spcPts val="551"/>
              </a:spcBef>
              <a:buClr>
                <a:schemeClr val="dk1"/>
              </a:buClr>
              <a:buSzPct val="99200"/>
              <a:buFont typeface="Arial"/>
              <a:buChar char="•"/>
              <a:defRPr sz="1984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780165" marR="0" lvl="7" indent="-136280" algn="l" rtl="0">
              <a:lnSpc>
                <a:spcPct val="90000"/>
              </a:lnSpc>
              <a:spcBef>
                <a:spcPts val="551"/>
              </a:spcBef>
              <a:buClr>
                <a:schemeClr val="dk1"/>
              </a:buClr>
              <a:buSzPct val="99200"/>
              <a:buFont typeface="Arial"/>
              <a:buChar char="•"/>
              <a:defRPr sz="1984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284186" marR="0" lvl="8" indent="-132302" algn="l" rtl="0">
              <a:lnSpc>
                <a:spcPct val="90000"/>
              </a:lnSpc>
              <a:spcBef>
                <a:spcPts val="551"/>
              </a:spcBef>
              <a:buClr>
                <a:schemeClr val="dk1"/>
              </a:buClr>
              <a:buSzPct val="99200"/>
              <a:buFont typeface="Arial"/>
              <a:buChar char="•"/>
              <a:defRPr sz="1984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27469341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uppieren 10"/>
          <p:cNvGrpSpPr/>
          <p:nvPr userDrawn="1"/>
        </p:nvGrpSpPr>
        <p:grpSpPr>
          <a:xfrm>
            <a:off x="746419" y="2367362"/>
            <a:ext cx="9200561" cy="1352550"/>
            <a:chOff x="970961" y="2367362"/>
            <a:chExt cx="9200561" cy="1352550"/>
          </a:xfrm>
        </p:grpSpPr>
        <p:pic>
          <p:nvPicPr>
            <p:cNvPr id="3" name="Grafik 2"/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524"/>
            <a:stretch/>
          </p:blipFill>
          <p:spPr>
            <a:xfrm>
              <a:off x="970961" y="2367362"/>
              <a:ext cx="4070938" cy="1352550"/>
            </a:xfrm>
            <a:prstGeom prst="rect">
              <a:avLst/>
            </a:prstGeom>
          </p:spPr>
        </p:pic>
        <p:pic>
          <p:nvPicPr>
            <p:cNvPr id="4" name="Grafik 3"/>
            <p:cNvPicPr>
              <a:picLocks noChangeAspect="1"/>
            </p:cNvPicPr>
            <p:nvPr userDrawn="1"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7222" r="8718" b="32333"/>
            <a:stretch/>
          </p:blipFill>
          <p:spPr>
            <a:xfrm>
              <a:off x="4707379" y="2642995"/>
              <a:ext cx="5464143" cy="801279"/>
            </a:xfrm>
            <a:prstGeom prst="rect">
              <a:avLst/>
            </a:prstGeom>
          </p:spPr>
        </p:pic>
        <p:cxnSp>
          <p:nvCxnSpPr>
            <p:cNvPr id="5" name="Gerader Verbinder 4"/>
            <p:cNvCxnSpPr/>
            <p:nvPr userDrawn="1"/>
          </p:nvCxnSpPr>
          <p:spPr>
            <a:xfrm flipH="1">
              <a:off x="4835951" y="2582611"/>
              <a:ext cx="1495" cy="922049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5571002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Verhältnis 1/3 zu 2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br>
              <a:rPr lang="de-DE" dirty="0" smtClean="0"/>
            </a:br>
            <a:r>
              <a:rPr lang="de-DE" dirty="0" smtClean="0"/>
              <a:t>Musterheadline zum Foliensatz, zweizeilig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1584325"/>
            <a:ext cx="3168000" cy="543718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879947" y="1584325"/>
            <a:ext cx="6336000" cy="543718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4A8AF78D-F561-4443-BCCC-AB2E476EBC7C}" type="datetime1">
              <a:rPr lang="de-DE" smtClean="0"/>
              <a:t>19.09.20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 smtClean="0"/>
              <a:t>CDO-Orga: Welcome Kick-Off</a:t>
            </a:r>
            <a:endParaRPr lang="de-DE" dirty="0"/>
          </a:p>
        </p:txBody>
      </p:sp>
      <p:sp>
        <p:nvSpPr>
          <p:cNvPr id="1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fld id="{DADFEA48-2D48-4EF5-B029-0B8993B9B72D}" type="slidenum">
              <a:rPr lang="de-DE" smtClean="0"/>
              <a:pPr algn="r"/>
              <a:t>‹Nr.›</a:t>
            </a:fld>
            <a:endParaRPr lang="de-DE" dirty="0"/>
          </a:p>
        </p:txBody>
      </p:sp>
      <p:sp>
        <p:nvSpPr>
          <p:cNvPr id="13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16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9955990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56798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" name="Gerader Verbinder 2"/>
          <p:cNvCxnSpPr/>
          <p:nvPr userDrawn="1"/>
        </p:nvCxnSpPr>
        <p:spPr>
          <a:xfrm>
            <a:off x="2395904" y="6779650"/>
            <a:ext cx="0" cy="50400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Grafik 4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37" t="27711" r="8642" b="32997"/>
          <a:stretch/>
        </p:blipFill>
        <p:spPr>
          <a:xfrm>
            <a:off x="2783111" y="6779650"/>
            <a:ext cx="3171131" cy="504000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27" t="15552" r="12760" b="12617"/>
          <a:stretch/>
        </p:blipFill>
        <p:spPr>
          <a:xfrm>
            <a:off x="303149" y="6779650"/>
            <a:ext cx="1778824" cy="50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36567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1520428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tandar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8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Titelmasterformat durch Klicken bearbeiten</a:t>
            </a:r>
            <a:br>
              <a:rPr lang="de-DE" dirty="0" smtClean="0"/>
            </a:br>
            <a:r>
              <a:rPr lang="de-DE" dirty="0" smtClean="0"/>
              <a:t>Musterheadline zum Foliensatz, zweizeilig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1584325"/>
            <a:ext cx="9756000" cy="543718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 anchor="b"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A48807EF-4704-4435-9EC7-6D90D9F21750}" type="datetime1">
              <a:rPr lang="de-DE" smtClean="0"/>
              <a:t>19.09.20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 anchor="b"/>
          <a:lstStyle/>
          <a:p>
            <a:pPr algn="r"/>
            <a:r>
              <a:rPr lang="de-DE" smtClean="0"/>
              <a:t>CDO-Orga: Welcome Kick-Off</a:t>
            </a:r>
            <a:endParaRPr lang="de-DE" dirty="0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2000" y="711325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34623526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Verhältnis 2/3 zu 1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7047947" y="1584325"/>
            <a:ext cx="3168000" cy="543718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9947" y="1584325"/>
            <a:ext cx="6336000" cy="543718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003588EB-3059-4714-B9C9-2B52CC575E01}" type="datetime1">
              <a:rPr lang="de-DE" smtClean="0"/>
              <a:t>19.09.20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 smtClean="0"/>
              <a:t>CDO-Orga: Welcome Kick-Off</a:t>
            </a:r>
            <a:endParaRPr lang="de-DE" dirty="0"/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15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16941348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Verhältnis 1/2 zu 1/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1584325"/>
            <a:ext cx="4752000" cy="5437189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463947" y="1584326"/>
            <a:ext cx="4752000" cy="543718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A2DD79ED-95DB-43FE-A926-7D4FBA50FA73}" type="datetime1">
              <a:rPr lang="de-DE" smtClean="0"/>
              <a:t>19.09.20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 smtClean="0"/>
              <a:t>CDO-Orga: Welcome Kick-Off</a:t>
            </a:r>
            <a:endParaRPr lang="de-DE" dirty="0"/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15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13226977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0800" y="1584325"/>
            <a:ext cx="4752000" cy="2628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463610" y="1584325"/>
            <a:ext cx="4752000" cy="2628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FF1E5B85-E110-4E14-B07B-A28A366F0FEA}" type="datetime1">
              <a:rPr lang="de-DE" smtClean="0"/>
              <a:t>19.09.20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r">
              <a:defRPr/>
            </a:lvl1pPr>
          </a:lstStyle>
          <a:p>
            <a:r>
              <a:rPr lang="de-DE" smtClean="0"/>
              <a:t>CDO-Orga: Welcome Kick-Off</a:t>
            </a:r>
            <a:endParaRPr lang="de-DE" dirty="0"/>
          </a:p>
        </p:txBody>
      </p:sp>
      <p:sp>
        <p:nvSpPr>
          <p:cNvPr id="11" name="Inhaltsplatzhalter 2"/>
          <p:cNvSpPr>
            <a:spLocks noGrp="1"/>
          </p:cNvSpPr>
          <p:nvPr>
            <p:ph sz="half" idx="14"/>
          </p:nvPr>
        </p:nvSpPr>
        <p:spPr>
          <a:xfrm>
            <a:off x="460800" y="4382900"/>
            <a:ext cx="4752000" cy="2628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2" name="Inhaltsplatzhalter 3"/>
          <p:cNvSpPr>
            <a:spLocks noGrp="1"/>
          </p:cNvSpPr>
          <p:nvPr>
            <p:ph sz="half" idx="15"/>
          </p:nvPr>
        </p:nvSpPr>
        <p:spPr>
          <a:xfrm>
            <a:off x="5463610" y="4384800"/>
            <a:ext cx="4752000" cy="2628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Inhaltsplatzhalter 2"/>
          <p:cNvSpPr>
            <a:spLocks noGrp="1"/>
          </p:cNvSpPr>
          <p:nvPr>
            <p:ph idx="13"/>
          </p:nvPr>
        </p:nvSpPr>
        <p:spPr>
          <a:xfrm>
            <a:off x="450850" y="7112498"/>
            <a:ext cx="2710800" cy="180000"/>
          </a:xfrm>
        </p:spPr>
        <p:txBody>
          <a:bodyPr vert="horz" lIns="0" tIns="0" rIns="0" bIns="0" rtlCol="0" anchor="b">
            <a:noAutofit/>
          </a:bodyPr>
          <a:lstStyle>
            <a:lvl1pPr marL="182563" indent="-182563">
              <a:buNone/>
              <a:defRPr lang="de-DE" sz="800" dirty="0" smtClean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0" lvl="0" indent="0"/>
            <a:r>
              <a:rPr lang="de-DE" smtClean="0"/>
              <a:t>Formatvorlagen des Textmasters bearbeiten</a:t>
            </a:r>
          </a:p>
        </p:txBody>
      </p:sp>
      <p:sp>
        <p:nvSpPr>
          <p:cNvPr id="13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2000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6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11089987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folie Li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Titelmasterformat durch Klicken bearbeiten</a:t>
            </a:r>
            <a:br>
              <a:rPr lang="de-DE" dirty="0" smtClean="0"/>
            </a:br>
            <a:r>
              <a:rPr lang="de-DE" dirty="0" smtClean="0"/>
              <a:t>Musterheadline zum Foliensatz, zweizeilig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2052637"/>
            <a:ext cx="9756000" cy="496887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 anchor="b"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806EAF34-C512-4D27-880D-1F31E31CD45D}" type="datetime1">
              <a:rPr lang="de-DE" smtClean="0"/>
              <a:t>19.09.20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 anchor="b"/>
          <a:lstStyle/>
          <a:p>
            <a:pPr algn="r"/>
            <a:r>
              <a:rPr lang="de-DE" smtClean="0"/>
              <a:t>CDO-Orga: Welcome Kick-Off</a:t>
            </a:r>
            <a:endParaRPr lang="de-DE" dirty="0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2000" y="711325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Inhaltsplatzhalter 10"/>
          <p:cNvSpPr>
            <a:spLocks noGrp="1"/>
          </p:cNvSpPr>
          <p:nvPr>
            <p:ph sz="quarter" idx="15"/>
          </p:nvPr>
        </p:nvSpPr>
        <p:spPr>
          <a:xfrm>
            <a:off x="466725" y="1584000"/>
            <a:ext cx="9756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cxnSp>
        <p:nvCxnSpPr>
          <p:cNvPr id="8" name="Gerader Verbinder 7"/>
          <p:cNvCxnSpPr/>
          <p:nvPr userDrawn="1"/>
        </p:nvCxnSpPr>
        <p:spPr>
          <a:xfrm>
            <a:off x="459947" y="1860550"/>
            <a:ext cx="9782603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12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7041982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Verhältnis 1/3 zu 2/3) Li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br>
              <a:rPr lang="de-DE" dirty="0" smtClean="0"/>
            </a:br>
            <a:r>
              <a:rPr lang="de-DE" dirty="0" smtClean="0"/>
              <a:t>Musterheadline zum Foliensatz, zweizeilig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2052111"/>
            <a:ext cx="3168000" cy="4932889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879947" y="2052638"/>
            <a:ext cx="6336000" cy="4938446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60787DEF-084A-4C49-BFE8-FE32A00BE0C9}" type="datetime1">
              <a:rPr lang="de-DE" smtClean="0"/>
              <a:t>19.09.20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 smtClean="0"/>
              <a:t>CDO-Orga: Welcome Kick-Off</a:t>
            </a:r>
            <a:endParaRPr lang="de-DE" dirty="0"/>
          </a:p>
        </p:txBody>
      </p:sp>
      <p:sp>
        <p:nvSpPr>
          <p:cNvPr id="1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fld id="{DADFEA48-2D48-4EF5-B029-0B8993B9B72D}" type="slidenum">
              <a:rPr lang="de-DE" smtClean="0"/>
              <a:pPr algn="r"/>
              <a:t>‹Nr.›</a:t>
            </a:fld>
            <a:endParaRPr lang="de-DE" dirty="0"/>
          </a:p>
        </p:txBody>
      </p:sp>
      <p:sp>
        <p:nvSpPr>
          <p:cNvPr id="8" name="Inhaltsplatzhalter 10"/>
          <p:cNvSpPr>
            <a:spLocks noGrp="1"/>
          </p:cNvSpPr>
          <p:nvPr>
            <p:ph sz="quarter" idx="15"/>
          </p:nvPr>
        </p:nvSpPr>
        <p:spPr>
          <a:xfrm>
            <a:off x="466725" y="1584000"/>
            <a:ext cx="3161222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9" name="Inhaltsplatzhalter 10"/>
          <p:cNvSpPr>
            <a:spLocks noGrp="1"/>
          </p:cNvSpPr>
          <p:nvPr>
            <p:ph sz="quarter" idx="16"/>
          </p:nvPr>
        </p:nvSpPr>
        <p:spPr>
          <a:xfrm>
            <a:off x="3879947" y="1584000"/>
            <a:ext cx="6336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cxnSp>
        <p:nvCxnSpPr>
          <p:cNvPr id="11" name="Gerader Verbinder 10"/>
          <p:cNvCxnSpPr/>
          <p:nvPr userDrawn="1"/>
        </p:nvCxnSpPr>
        <p:spPr>
          <a:xfrm>
            <a:off x="459947" y="1860550"/>
            <a:ext cx="31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 userDrawn="1"/>
        </p:nvCxnSpPr>
        <p:spPr>
          <a:xfrm>
            <a:off x="3879947" y="1860550"/>
            <a:ext cx="6336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16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1115708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Verhältnis 2/3 zu 1/3) Li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7052400" y="2052638"/>
            <a:ext cx="3168000" cy="494211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9947" y="2052638"/>
            <a:ext cx="6336000" cy="494211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4EEB1E7F-74DB-458E-9258-3ED8FF736668}" type="datetime1">
              <a:rPr lang="de-DE" smtClean="0"/>
              <a:t>19.09.20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 smtClean="0"/>
              <a:t>CDO-Orga: Welcome Kick-Off</a:t>
            </a:r>
            <a:endParaRPr lang="de-DE" dirty="0"/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Inhaltsplatzhalter 10"/>
          <p:cNvSpPr>
            <a:spLocks noGrp="1"/>
          </p:cNvSpPr>
          <p:nvPr>
            <p:ph sz="quarter" idx="15"/>
          </p:nvPr>
        </p:nvSpPr>
        <p:spPr>
          <a:xfrm>
            <a:off x="468700" y="1584000"/>
            <a:ext cx="631815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9" name="Inhaltsplatzhalter 10"/>
          <p:cNvSpPr>
            <a:spLocks noGrp="1"/>
          </p:cNvSpPr>
          <p:nvPr>
            <p:ph sz="quarter" idx="16"/>
          </p:nvPr>
        </p:nvSpPr>
        <p:spPr>
          <a:xfrm>
            <a:off x="7053689" y="1584325"/>
            <a:ext cx="3168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cxnSp>
        <p:nvCxnSpPr>
          <p:cNvPr id="10" name="Gerader Verbinder 9"/>
          <p:cNvCxnSpPr/>
          <p:nvPr userDrawn="1"/>
        </p:nvCxnSpPr>
        <p:spPr>
          <a:xfrm>
            <a:off x="7074550" y="1855788"/>
            <a:ext cx="31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 userDrawn="1"/>
        </p:nvCxnSpPr>
        <p:spPr>
          <a:xfrm>
            <a:off x="450850" y="1855788"/>
            <a:ext cx="6336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15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26391374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image" Target="../media/image3.emf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oleObject" Target="../embeddings/oleObject3.bin"/><Relationship Id="rId2" Type="http://schemas.openxmlformats.org/officeDocument/2006/relationships/slideLayout" Target="../slideLayouts/slideLayout17.xml"/><Relationship Id="rId16" Type="http://schemas.openxmlformats.org/officeDocument/2006/relationships/tags" Target="../tags/tag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5" Type="http://schemas.openxmlformats.org/officeDocument/2006/relationships/vmlDrawing" Target="../drawings/vmlDrawing3.vml"/><Relationship Id="rId10" Type="http://schemas.openxmlformats.org/officeDocument/2006/relationships/slideLayout" Target="../slideLayouts/slideLayout25.xml"/><Relationship Id="rId19" Type="http://schemas.openxmlformats.org/officeDocument/2006/relationships/image" Target="../media/image2.emf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slideLayout" Target="../slideLayouts/slideLayout31.xml"/><Relationship Id="rId7" Type="http://schemas.openxmlformats.org/officeDocument/2006/relationships/tags" Target="../tags/tag7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vmlDrawing" Target="../drawings/vmlDrawing6.vml"/><Relationship Id="rId5" Type="http://schemas.openxmlformats.org/officeDocument/2006/relationships/theme" Target="../theme/theme3.xml"/><Relationship Id="rId10" Type="http://schemas.openxmlformats.org/officeDocument/2006/relationships/image" Target="../media/image2.emf"/><Relationship Id="rId4" Type="http://schemas.openxmlformats.org/officeDocument/2006/relationships/slideLayout" Target="../slideLayouts/slideLayout32.xml"/><Relationship Id="rId9" Type="http://schemas.openxmlformats.org/officeDocument/2006/relationships/image" Target="../media/image4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18837582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75" name="think-cell Folie" r:id="rId19" imgW="532" imgH="530" progId="TCLayout.ActiveDocument.1">
                  <p:embed/>
                </p:oleObj>
              </mc:Choice>
              <mc:Fallback>
                <p:oleObj name="think-cell Folie" r:id="rId19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59947" y="603508"/>
            <a:ext cx="9756000" cy="67694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 dirty="0" smtClean="0"/>
              <a:t>Titelmasterformat durch Klicken bearbeiten</a:t>
            </a:r>
            <a:br>
              <a:rPr lang="de-DE" dirty="0" smtClean="0"/>
            </a:b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60800" y="1598400"/>
            <a:ext cx="9756000" cy="540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9280208" y="7112498"/>
            <a:ext cx="5400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52375B8-3D1C-4E45-B445-EC33EC849F8D}" type="datetime1">
              <a:rPr lang="de-DE" smtClean="0"/>
              <a:t>19.09.2017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534409" y="7112498"/>
            <a:ext cx="42480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r>
              <a:rPr lang="de-DE" smtClean="0"/>
              <a:t>CDO-Orga: Welcome Kick-Off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NewViessmannBox2"/>
          <p:cNvSpPr txBox="1"/>
          <p:nvPr userDrawn="1"/>
        </p:nvSpPr>
        <p:spPr>
          <a:xfrm>
            <a:off x="8191500" y="7112498"/>
            <a:ext cx="972000" cy="180000"/>
          </a:xfrm>
          <a:prstGeom prst="rect">
            <a:avLst/>
          </a:prstGeom>
          <a:noFill/>
        </p:spPr>
        <p:txBody>
          <a:bodyPr vert="horz" lIns="0" tIns="0" rIns="0" bIns="0" rtlCol="0" anchor="b">
            <a:spAutoFit/>
          </a:bodyPr>
          <a:lstStyle/>
          <a:p>
            <a:r>
              <a:rPr lang="de-DE" sz="800" dirty="0" smtClean="0">
                <a:solidFill>
                  <a:schemeClr val="bg1">
                    <a:lumMod val="50000"/>
                  </a:schemeClr>
                </a:solidFill>
                <a:latin typeface="Arial"/>
              </a:rPr>
              <a:t>© Viessmann Group</a:t>
            </a:r>
            <a:endParaRPr lang="de-DE" sz="800" dirty="0">
              <a:solidFill>
                <a:schemeClr val="bg1">
                  <a:lumMod val="50000"/>
                </a:schemeClr>
              </a:solidFill>
              <a:latin typeface="Arial"/>
            </a:endParaRPr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21"/>
          <a:stretch>
            <a:fillRect/>
          </a:stretch>
        </p:blipFill>
        <p:spPr>
          <a:xfrm rot="5400000">
            <a:off x="9432863" y="-309839"/>
            <a:ext cx="309009" cy="12787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74235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03" r:id="rId2"/>
    <p:sldLayoutId id="2147483725" r:id="rId3"/>
    <p:sldLayoutId id="2147483726" r:id="rId4"/>
    <p:sldLayoutId id="2147483727" r:id="rId5"/>
    <p:sldLayoutId id="2147483728" r:id="rId6"/>
    <p:sldLayoutId id="2147483716" r:id="rId7"/>
    <p:sldLayoutId id="2147483704" r:id="rId8"/>
    <p:sldLayoutId id="2147483705" r:id="rId9"/>
    <p:sldLayoutId id="2147483706" r:id="rId10"/>
    <p:sldLayoutId id="2147483707" r:id="rId11"/>
    <p:sldLayoutId id="2147483721" r:id="rId12"/>
    <p:sldLayoutId id="2147483720" r:id="rId13"/>
    <p:sldLayoutId id="2147483724" r:id="rId14"/>
    <p:sldLayoutId id="2147483722" r:id="rId15"/>
  </p:sldLayoutIdLst>
  <p:timing>
    <p:tnLst>
      <p:par>
        <p:cTn id="1" dur="indefinite" restart="never" nodeType="tmRoot"/>
      </p:par>
    </p:tnLst>
  </p:timing>
  <p:hf hdr="0"/>
  <p:txStyles>
    <p:titleStyle>
      <a:lvl1pPr algn="l" defTabSz="995690" rtl="0" eaLnBrk="1" latinLnBrk="0" hangingPunct="1">
        <a:spcBef>
          <a:spcPct val="0"/>
        </a:spcBef>
        <a:buNone/>
        <a:defRPr sz="2200" b="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182563" indent="-182563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14375" indent="-217488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2pPr>
      <a:lvl3pPr marL="1244613" indent="-248923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3pPr>
      <a:lvl4pPr marL="1742458" indent="-248923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4pPr>
      <a:lvl5pPr marL="2240303" indent="-248923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5pPr>
      <a:lvl6pPr marL="2738148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35993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733838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231683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9784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9569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49353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99138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48922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8707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84916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82761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2" pos="6452" userDrawn="1">
          <p15:clr>
            <a:srgbClr val="F26B43"/>
          </p15:clr>
        </p15:guide>
        <p15:guide id="3" pos="28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3014070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94" name="think-cell Folie" r:id="rId17" imgW="408" imgH="408" progId="TCLayout.ActiveDocument.1">
                  <p:embed/>
                </p:oleObj>
              </mc:Choice>
              <mc:Fallback>
                <p:oleObj name="think-cell Folie" r:id="rId17" imgW="408" imgH="408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59947" y="603508"/>
            <a:ext cx="9782602" cy="67694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 dirty="0"/>
              <a:t>Titelmasterformat durch Klicken bearbeiten</a:t>
            </a:r>
            <a:br>
              <a:rPr lang="de-DE" dirty="0"/>
            </a:b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9946" y="1593035"/>
            <a:ext cx="9782603" cy="540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9280208" y="7112498"/>
            <a:ext cx="5400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D038294-DC54-4FA6-B0FF-03C0148B7818}" type="datetime1">
              <a:rPr lang="de-DE" smtClean="0"/>
              <a:t>19.09.2017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534409" y="7112498"/>
            <a:ext cx="42480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r>
              <a:rPr lang="de-DE" smtClean="0"/>
              <a:t>CDO-Orga: Welcome Kick-Off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NewViessmannBox2"/>
          <p:cNvSpPr txBox="1"/>
          <p:nvPr userDrawn="1"/>
        </p:nvSpPr>
        <p:spPr>
          <a:xfrm>
            <a:off x="8191500" y="7112498"/>
            <a:ext cx="972000" cy="180000"/>
          </a:xfrm>
          <a:prstGeom prst="rect">
            <a:avLst/>
          </a:prstGeom>
          <a:noFill/>
        </p:spPr>
        <p:txBody>
          <a:bodyPr vert="horz" lIns="0" tIns="0" rIns="0" bIns="0" rtlCol="0" anchor="b">
            <a:spAutoFit/>
          </a:bodyPr>
          <a:lstStyle/>
          <a:p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Arial"/>
              </a:rPr>
              <a:t>© Viessmann Group</a:t>
            </a:r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19"/>
          <a:stretch>
            <a:fillRect/>
          </a:stretch>
        </p:blipFill>
        <p:spPr>
          <a:xfrm rot="5400000">
            <a:off x="9432863" y="-309839"/>
            <a:ext cx="309009" cy="12787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59058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9" r:id="rId1"/>
    <p:sldLayoutId id="2147483800" r:id="rId2"/>
    <p:sldLayoutId id="2147483801" r:id="rId3"/>
    <p:sldLayoutId id="2147483802" r:id="rId4"/>
    <p:sldLayoutId id="2147483803" r:id="rId5"/>
    <p:sldLayoutId id="2147483804" r:id="rId6"/>
    <p:sldLayoutId id="2147483805" r:id="rId7"/>
    <p:sldLayoutId id="2147483806" r:id="rId8"/>
    <p:sldLayoutId id="2147483807" r:id="rId9"/>
    <p:sldLayoutId id="2147483808" r:id="rId10"/>
    <p:sldLayoutId id="2147483809" r:id="rId11"/>
    <p:sldLayoutId id="2147483810" r:id="rId12"/>
    <p:sldLayoutId id="2147483811" r:id="rId13"/>
  </p:sldLayoutIdLst>
  <p:timing>
    <p:tnLst>
      <p:par>
        <p:cTn id="1" dur="indefinite" restart="never" nodeType="tmRoot"/>
      </p:par>
    </p:tnLst>
  </p:timing>
  <p:hf hdr="0"/>
  <p:txStyles>
    <p:titleStyle>
      <a:lvl1pPr algn="l" defTabSz="995690" rtl="0" eaLnBrk="1" latinLnBrk="0" hangingPunct="1">
        <a:spcBef>
          <a:spcPct val="0"/>
        </a:spcBef>
        <a:buNone/>
        <a:defRPr sz="2200" b="1" i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182563" indent="-182563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14375" indent="-217488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2pPr>
      <a:lvl3pPr marL="1244613" indent="-248923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3pPr>
      <a:lvl4pPr marL="1742458" indent="-248923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4pPr>
      <a:lvl5pPr marL="2240303" indent="-248923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5pPr>
      <a:lvl6pPr marL="2738148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35993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733838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231683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9784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9569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49353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99138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48922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8707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84916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82761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2" pos="6452">
          <p15:clr>
            <a:srgbClr val="F26B43"/>
          </p15:clr>
        </p15:guide>
        <p15:guide id="3" pos="284">
          <p15:clr>
            <a:srgbClr val="F26B43"/>
          </p15:clr>
        </p15:guide>
        <p15:guide id="4" orient="horz" pos="771">
          <p15:clr>
            <a:srgbClr val="F26B43"/>
          </p15:clr>
        </p15:guide>
        <p15:guide id="5" orient="horz" pos="998">
          <p15:clr>
            <a:srgbClr val="F26B43"/>
          </p15:clr>
        </p15:guide>
        <p15:guide id="6" orient="horz" pos="4423">
          <p15:clr>
            <a:srgbClr val="F26B43"/>
          </p15:clr>
        </p15:guide>
        <p15:guide id="8" orient="horz" pos="4581">
          <p15:clr>
            <a:srgbClr val="F26B43"/>
          </p15:clr>
        </p15:guide>
        <p15:guide id="10" pos="3368">
          <p15:clr>
            <a:srgbClr val="F26B43"/>
          </p15:clr>
        </p15:guide>
        <p15:guide id="12" orient="horz" pos="2699">
          <p15:clr>
            <a:srgbClr val="F26B43"/>
          </p15:clr>
        </p15:guide>
        <p15:guide id="13" orient="horz" pos="386">
          <p15:clr>
            <a:srgbClr val="F26B43"/>
          </p15:clr>
        </p15:guide>
        <p15:guide id="14" orient="horz" pos="25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0887096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38" name="think-cell Folie" r:id="rId8" imgW="270" imgH="270" progId="TCLayout.ActiveDocument.1">
                  <p:embed/>
                </p:oleObj>
              </mc:Choice>
              <mc:Fallback>
                <p:oleObj name="think-cell Folie" r:id="rId8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59947" y="603508"/>
            <a:ext cx="9756000" cy="67694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 dirty="0" smtClean="0"/>
              <a:t>Titelmasterformat durch Klicken bearbeiten</a:t>
            </a:r>
            <a:br>
              <a:rPr lang="de-DE" dirty="0" smtClean="0"/>
            </a:b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60800" y="1598400"/>
            <a:ext cx="9756000" cy="540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 rot="5400000">
            <a:off x="9432863" y="-309839"/>
            <a:ext cx="309009" cy="1278759"/>
          </a:xfrm>
          <a:prstGeom prst="rect">
            <a:avLst/>
          </a:prstGeom>
        </p:spPr>
      </p:pic>
      <p:sp>
        <p:nvSpPr>
          <p:cNvPr id="12" name="Rechteck 11"/>
          <p:cNvSpPr>
            <a:spLocks/>
          </p:cNvSpPr>
          <p:nvPr userDrawn="1"/>
        </p:nvSpPr>
        <p:spPr>
          <a:xfrm>
            <a:off x="0" y="0"/>
            <a:ext cx="10693400" cy="756126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3792314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3" r:id="rId1"/>
    <p:sldLayoutId id="2147483814" r:id="rId2"/>
    <p:sldLayoutId id="2147483815" r:id="rId3"/>
    <p:sldLayoutId id="2147483816" r:id="rId4"/>
  </p:sldLayoutIdLst>
  <p:timing>
    <p:tnLst>
      <p:par>
        <p:cTn id="1" dur="indefinite" restart="never" nodeType="tmRoot"/>
      </p:par>
    </p:tnLst>
  </p:timing>
  <p:hf hdr="0"/>
  <p:txStyles>
    <p:titleStyle>
      <a:lvl1pPr algn="l" defTabSz="995690" rtl="0" eaLnBrk="1" latinLnBrk="0" hangingPunct="1">
        <a:spcBef>
          <a:spcPct val="0"/>
        </a:spcBef>
        <a:buNone/>
        <a:defRPr sz="2200" b="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182563" indent="-182563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14375" indent="-217488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2pPr>
      <a:lvl3pPr marL="1244613" indent="-248923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3pPr>
      <a:lvl4pPr marL="1742458" indent="-248923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4pPr>
      <a:lvl5pPr marL="2240303" indent="-248923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5pPr>
      <a:lvl6pPr marL="2738148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35993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733838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231683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9784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9569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49353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99138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48922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8707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84916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82761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2" pos="6452">
          <p15:clr>
            <a:srgbClr val="F26B43"/>
          </p15:clr>
        </p15:guide>
        <p15:guide id="3" pos="28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1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7.xml"/><Relationship Id="rId5" Type="http://schemas.openxmlformats.org/officeDocument/2006/relationships/image" Target="../media/image12.png"/><Relationship Id="rId4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A704BE-7DAB-43D1-9EDD-7CC31440E258}" type="datetime1">
              <a:rPr lang="de-DE" smtClean="0"/>
              <a:t>19.09.2017</a:t>
            </a:fld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DFEA48-2D48-4EF5-B029-0B8993B9B72D}" type="slidenum">
              <a:rPr lang="de-DE" smtClean="0"/>
              <a:pPr/>
              <a:t>1</a:t>
            </a:fld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US" sz="3600" dirty="0" err="1" smtClean="0"/>
              <a:t>Teil</a:t>
            </a:r>
            <a:r>
              <a:rPr lang="en-US" sz="3600" dirty="0" smtClean="0"/>
              <a:t> II: </a:t>
            </a:r>
            <a:r>
              <a:rPr lang="en-US" sz="3600" dirty="0" err="1" smtClean="0"/>
              <a:t>Einführung</a:t>
            </a:r>
            <a:r>
              <a:rPr lang="en-US" sz="3600" dirty="0" smtClean="0"/>
              <a:t> temporal Data Mining</a:t>
            </a:r>
            <a:endParaRPr lang="en-US" sz="360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3534409" y="7112498"/>
            <a:ext cx="4248000" cy="180000"/>
          </a:xfrm>
        </p:spPr>
        <p:txBody>
          <a:bodyPr/>
          <a:lstStyle/>
          <a:p>
            <a:pPr algn="r"/>
            <a:r>
              <a:rPr lang="de-DE" smtClean="0"/>
              <a:t>Data Insights</a:t>
            </a:r>
            <a:endParaRPr lang="de-DE" dirty="0"/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21"/>
          </p:nvPr>
        </p:nvSpPr>
        <p:spPr>
          <a:xfrm>
            <a:off x="468699" y="5333682"/>
            <a:ext cx="2874576" cy="686117"/>
          </a:xfrm>
        </p:spPr>
        <p:txBody>
          <a:bodyPr/>
          <a:lstStyle/>
          <a:p>
            <a:r>
              <a:rPr lang="en-US" dirty="0" err="1" smtClean="0"/>
              <a:t>DrThM</a:t>
            </a:r>
            <a:endParaRPr lang="en-US" dirty="0"/>
          </a:p>
          <a:p>
            <a:r>
              <a:rPr lang="en-US" dirty="0" smtClean="0"/>
              <a:t>19.09.17</a:t>
            </a:r>
          </a:p>
          <a:p>
            <a:r>
              <a:rPr lang="en-US" dirty="0" err="1" smtClean="0"/>
              <a:t>Vorstellung</a:t>
            </a:r>
            <a:r>
              <a:rPr lang="en-US" dirty="0" smtClean="0"/>
              <a:t> Digital </a:t>
            </a:r>
            <a:r>
              <a:rPr lang="en-US" dirty="0" err="1" smtClean="0"/>
              <a:t>Inhouse</a:t>
            </a:r>
            <a:r>
              <a:rPr lang="en-US" dirty="0" smtClean="0"/>
              <a:t> Consulting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701039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1800" i="0" dirty="0" smtClean="0"/>
              <a:t>KD: Was ist Ähnlichkeit?</a:t>
            </a:r>
            <a:endParaRPr lang="de-DE" sz="1800" i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1280456"/>
            <a:ext cx="9756000" cy="1954063"/>
          </a:xfrm>
        </p:spPr>
        <p:txBody>
          <a:bodyPr>
            <a:normAutofit/>
          </a:bodyPr>
          <a:lstStyle/>
          <a:p>
            <a:r>
              <a:rPr lang="de-DE" dirty="0" smtClean="0"/>
              <a:t>Sobald eine </a:t>
            </a:r>
            <a:r>
              <a:rPr lang="de-DE" dirty="0" err="1" smtClean="0"/>
              <a:t>Ähnlichkeitsbeschreibuzng</a:t>
            </a:r>
            <a:r>
              <a:rPr lang="de-DE" dirty="0" smtClean="0"/>
              <a:t> sich herausbildet kann man eine Distanz definieren</a:t>
            </a:r>
          </a:p>
          <a:p>
            <a:pPr lvl="1"/>
            <a:r>
              <a:rPr lang="de-DE" dirty="0" smtClean="0"/>
              <a:t>Distanz für alle komplizierteren Analyse-Methoden (</a:t>
            </a:r>
            <a:r>
              <a:rPr lang="de-DE" b="1" dirty="0" smtClean="0"/>
              <a:t>KD</a:t>
            </a:r>
            <a:r>
              <a:rPr lang="de-DE" dirty="0" smtClean="0"/>
              <a:t>) von entscheidender Bedeutung z.B. </a:t>
            </a:r>
          </a:p>
          <a:p>
            <a:pPr lvl="2"/>
            <a:r>
              <a:rPr lang="de-DE" dirty="0" smtClean="0"/>
              <a:t>Cluster-Analyse</a:t>
            </a:r>
          </a:p>
          <a:p>
            <a:pPr lvl="2"/>
            <a:r>
              <a:rPr lang="de-DE" dirty="0" smtClean="0"/>
              <a:t>Vorhersagen („</a:t>
            </a:r>
            <a:r>
              <a:rPr lang="de-DE" dirty="0" err="1" smtClean="0"/>
              <a:t>Predictions</a:t>
            </a:r>
            <a:r>
              <a:rPr lang="de-DE" dirty="0" smtClean="0"/>
              <a:t>“) über </a:t>
            </a:r>
            <a:r>
              <a:rPr lang="de-DE" dirty="0" err="1" smtClean="0"/>
              <a:t>Machine</a:t>
            </a:r>
            <a:r>
              <a:rPr lang="de-DE" dirty="0" smtClean="0"/>
              <a:t> Learning bei falscher Distanz meistens fehlerbehaftet</a:t>
            </a:r>
          </a:p>
          <a:p>
            <a:pPr lvl="2"/>
            <a:r>
              <a:rPr lang="de-DE" dirty="0" smtClean="0"/>
              <a:t>Richtige Vorverarbeitung relevant (siehe Teil I)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0E5539-D4DE-4918-9DA7-2B133DB5C73F}" type="datetime1">
              <a:rPr lang="de-DE" smtClean="0"/>
              <a:t>19.09.2017</a:t>
            </a:fld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DFEA48-2D48-4EF5-B029-0B8993B9B72D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en-US" dirty="0" err="1"/>
              <a:t>Teil</a:t>
            </a:r>
            <a:r>
              <a:rPr lang="en-US" dirty="0"/>
              <a:t> II: </a:t>
            </a:r>
            <a:r>
              <a:rPr lang="en-US" dirty="0" err="1"/>
              <a:t>Einführung</a:t>
            </a:r>
            <a:r>
              <a:rPr lang="en-US" dirty="0"/>
              <a:t> temporal Data Mining</a:t>
            </a:r>
          </a:p>
          <a:p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 smtClean="0"/>
              <a:t>Dr. Thrun</a:t>
            </a:r>
            <a:endParaRPr lang="de-DE" dirty="0"/>
          </a:p>
        </p:txBody>
      </p:sp>
      <p:pic>
        <p:nvPicPr>
          <p:cNvPr id="9" name="Picture 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76716" y="3234519"/>
            <a:ext cx="5439231" cy="37645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3534409" y="7112498"/>
            <a:ext cx="4248000" cy="180000"/>
          </a:xfrm>
        </p:spPr>
        <p:txBody>
          <a:bodyPr/>
          <a:lstStyle/>
          <a:p>
            <a:pPr algn="r"/>
            <a:r>
              <a:rPr lang="de-DE" dirty="0" smtClean="0"/>
              <a:t>Data </a:t>
            </a:r>
            <a:r>
              <a:rPr lang="de-DE" dirty="0" err="1" smtClean="0"/>
              <a:t>Insights</a:t>
            </a:r>
            <a:r>
              <a:rPr lang="de-DE" dirty="0" smtClean="0"/>
              <a:t> unter Dr. Böhme</a:t>
            </a:r>
            <a:endParaRPr lang="de-DE" dirty="0"/>
          </a:p>
        </p:txBody>
      </p:sp>
      <p:sp>
        <p:nvSpPr>
          <p:cNvPr id="11" name="Textplatzhalter 7"/>
          <p:cNvSpPr txBox="1">
            <a:spLocks/>
          </p:cNvSpPr>
          <p:nvPr/>
        </p:nvSpPr>
        <p:spPr>
          <a:xfrm>
            <a:off x="87612" y="6845317"/>
            <a:ext cx="5009520" cy="30749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 defTabSz="995690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chemeClr val="bg1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2563" indent="0" algn="l" defTabSz="995690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marL="357187" indent="0" algn="l" defTabSz="995690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marL="539750" indent="0" algn="l" defTabSz="995690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marL="712787" indent="0" algn="l" defTabSz="995690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73814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99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83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68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200" dirty="0" smtClean="0"/>
              <a:t>Details: Vorlesung Knowledge Discovery </a:t>
            </a:r>
            <a:r>
              <a:rPr lang="de-DE" sz="1200" dirty="0" err="1" smtClean="0"/>
              <a:t>by</a:t>
            </a:r>
            <a:r>
              <a:rPr lang="de-DE" sz="1200" dirty="0" smtClean="0"/>
              <a:t> Prof. Dr. </a:t>
            </a:r>
            <a:r>
              <a:rPr lang="de-DE" sz="1200" dirty="0" err="1" smtClean="0"/>
              <a:t>Ultsch</a:t>
            </a:r>
            <a:r>
              <a:rPr lang="de-DE" sz="1200" dirty="0" smtClean="0"/>
              <a:t>, Uni Marburg</a:t>
            </a:r>
            <a:endParaRPr lang="de-DE" sz="1200" dirty="0"/>
          </a:p>
        </p:txBody>
      </p:sp>
    </p:spTree>
    <p:extLst>
      <p:ext uri="{BB962C8B-B14F-4D97-AF65-F5344CB8AC3E}">
        <p14:creationId xmlns:p14="http://schemas.microsoft.com/office/powerpoint/2010/main" val="24643229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i="0" dirty="0"/>
              <a:t>Mustererkennung über Cluster-Analys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0E5539-D4DE-4918-9DA7-2B133DB5C73F}" type="datetime1">
              <a:rPr lang="de-DE" smtClean="0"/>
              <a:t>19.09.2017</a:t>
            </a:fld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DFEA48-2D48-4EF5-B029-0B8993B9B72D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en-US" dirty="0" err="1"/>
              <a:t>Teil</a:t>
            </a:r>
            <a:r>
              <a:rPr lang="en-US" dirty="0"/>
              <a:t> I: </a:t>
            </a:r>
            <a:r>
              <a:rPr lang="en-US" dirty="0" err="1"/>
              <a:t>Einführung</a:t>
            </a:r>
            <a:r>
              <a:rPr lang="en-US" dirty="0"/>
              <a:t> in Data </a:t>
            </a:r>
            <a:r>
              <a:rPr lang="en-US" dirty="0" smtClean="0"/>
              <a:t>Science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2"/>
          </p:nvPr>
        </p:nvSpPr>
        <p:spPr>
          <a:xfrm>
            <a:off x="52536" y="6831333"/>
            <a:ext cx="5680535" cy="825204"/>
          </a:xfrm>
        </p:spPr>
        <p:txBody>
          <a:bodyPr/>
          <a:lstStyle/>
          <a:p>
            <a:r>
              <a:rPr lang="en-US" sz="1100" dirty="0" smtClean="0">
                <a:solidFill>
                  <a:schemeClr val="tx1"/>
                </a:solidFill>
              </a:rPr>
              <a:t>(1) Thrun</a:t>
            </a:r>
            <a:r>
              <a:rPr lang="en-US" sz="1100" dirty="0">
                <a:solidFill>
                  <a:schemeClr val="tx1"/>
                </a:solidFill>
              </a:rPr>
              <a:t>, M., </a:t>
            </a:r>
            <a:r>
              <a:rPr lang="en-US" sz="1100" dirty="0" err="1">
                <a:solidFill>
                  <a:schemeClr val="tx1"/>
                </a:solidFill>
              </a:rPr>
              <a:t>Ultsch</a:t>
            </a:r>
            <a:r>
              <a:rPr lang="en-US" sz="1100" dirty="0">
                <a:solidFill>
                  <a:schemeClr val="tx1"/>
                </a:solidFill>
              </a:rPr>
              <a:t>, A.: </a:t>
            </a:r>
            <a:r>
              <a:rPr lang="en-US" sz="1100" dirty="0" smtClean="0">
                <a:solidFill>
                  <a:schemeClr val="tx1"/>
                </a:solidFill>
              </a:rPr>
              <a:t>Projection Based Clustering, </a:t>
            </a:r>
            <a:r>
              <a:rPr lang="en-US" sz="1100" i="1" dirty="0" smtClean="0">
                <a:solidFill>
                  <a:schemeClr val="tx1"/>
                </a:solidFill>
              </a:rPr>
              <a:t>Conf</a:t>
            </a:r>
            <a:r>
              <a:rPr lang="en-US" sz="1100" i="1" dirty="0">
                <a:solidFill>
                  <a:schemeClr val="tx1"/>
                </a:solidFill>
              </a:rPr>
              <a:t>. Int.</a:t>
            </a:r>
            <a:r>
              <a:rPr lang="en-US" sz="1100" dirty="0">
                <a:solidFill>
                  <a:schemeClr val="tx1"/>
                </a:solidFill>
              </a:rPr>
              <a:t> </a:t>
            </a:r>
            <a:r>
              <a:rPr lang="en-US" sz="1100" i="1" dirty="0">
                <a:solidFill>
                  <a:schemeClr val="tx1"/>
                </a:solidFill>
              </a:rPr>
              <a:t>Federation of Classification </a:t>
            </a:r>
            <a:r>
              <a:rPr lang="en-US" sz="1100" i="1" dirty="0" smtClean="0">
                <a:solidFill>
                  <a:schemeClr val="tx1"/>
                </a:solidFill>
              </a:rPr>
              <a:t>Societies (IFCS), </a:t>
            </a:r>
            <a:r>
              <a:rPr lang="en-US" sz="1100" i="1" dirty="0">
                <a:solidFill>
                  <a:schemeClr val="tx1"/>
                </a:solidFill>
              </a:rPr>
              <a:t>Tokyo, 2017.</a:t>
            </a:r>
            <a:endParaRPr lang="en-US" sz="1100" dirty="0">
              <a:solidFill>
                <a:schemeClr val="tx1"/>
              </a:solidFill>
            </a:endParaRPr>
          </a:p>
          <a:p>
            <a:endParaRPr lang="de-DE" sz="600" dirty="0">
              <a:solidFill>
                <a:schemeClr val="tx1"/>
              </a:solidFill>
            </a:endParaRPr>
          </a:p>
        </p:txBody>
      </p:sp>
      <p:pic>
        <p:nvPicPr>
          <p:cNvPr id="10" name="Picture 2" descr="C:\snap.jpg"/>
          <p:cNvPicPr>
            <a:picLocks noGrp="1" noChangeAspect="1" noChangeArrowheads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294" y="1804580"/>
            <a:ext cx="4967564" cy="509638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935687" y="2899860"/>
            <a:ext cx="3679726" cy="429461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2" name="Straight Arrow Connector 6"/>
          <p:cNvCxnSpPr/>
          <p:nvPr/>
        </p:nvCxnSpPr>
        <p:spPr bwMode="auto">
          <a:xfrm>
            <a:off x="4182245" y="4089558"/>
            <a:ext cx="2952328" cy="720080"/>
          </a:xfrm>
          <a:prstGeom prst="straightConnector1">
            <a:avLst/>
          </a:prstGeom>
          <a:noFill/>
          <a:ln w="5080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13" name="TextBox 4"/>
          <p:cNvSpPr txBox="1"/>
          <p:nvPr/>
        </p:nvSpPr>
        <p:spPr>
          <a:xfrm>
            <a:off x="5262365" y="3387189"/>
            <a:ext cx="187220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>
              <a:buNone/>
            </a:pPr>
            <a:r>
              <a:rPr lang="en-US" sz="1800" dirty="0" smtClean="0">
                <a:solidFill>
                  <a:srgbClr val="FF0000"/>
                </a:solidFill>
              </a:rPr>
              <a:t>Projection &amp; Visualization </a:t>
            </a:r>
            <a:r>
              <a:rPr lang="en-US" sz="1800" dirty="0" err="1" smtClean="0">
                <a:solidFill>
                  <a:srgbClr val="FF0000"/>
                </a:solidFill>
              </a:rPr>
              <a:t>mit</a:t>
            </a:r>
            <a:r>
              <a:rPr lang="en-US" sz="1800" dirty="0" smtClean="0">
                <a:solidFill>
                  <a:srgbClr val="FF0000"/>
                </a:solidFill>
              </a:rPr>
              <a:t> Clustering (1)</a:t>
            </a:r>
            <a:endParaRPr lang="en-US" sz="1800" dirty="0">
              <a:solidFill>
                <a:srgbClr val="FF0000"/>
              </a:solidFill>
            </a:endParaRPr>
          </a:p>
        </p:txBody>
      </p:sp>
      <p:sp>
        <p:nvSpPr>
          <p:cNvPr id="15" name="Textfeld 14"/>
          <p:cNvSpPr txBox="1"/>
          <p:nvPr/>
        </p:nvSpPr>
        <p:spPr>
          <a:xfrm>
            <a:off x="5022858" y="1280456"/>
            <a:ext cx="574181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 smtClean="0"/>
              <a:t>Problem: Suche Fälle die ähnlich zueinander sind</a:t>
            </a:r>
          </a:p>
          <a:p>
            <a:r>
              <a:rPr lang="de-DE" sz="1600" dirty="0" smtClean="0"/>
              <a:t>Mögliche Lösung: Klassifikation („Clustering“) von Daten</a:t>
            </a:r>
          </a:p>
          <a:p>
            <a:r>
              <a:rPr lang="de-DE" sz="1600" dirty="0" smtClean="0"/>
              <a:t>„Ähnlich“ -&gt; siehe Teil II</a:t>
            </a:r>
            <a:endParaRPr lang="de-DE" sz="1600" dirty="0"/>
          </a:p>
        </p:txBody>
      </p:sp>
      <p:sp>
        <p:nvSpPr>
          <p:cNvPr id="16" name="Textfeld 15"/>
          <p:cNvSpPr txBox="1"/>
          <p:nvPr/>
        </p:nvSpPr>
        <p:spPr>
          <a:xfrm>
            <a:off x="161655" y="1207677"/>
            <a:ext cx="4384385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 smtClean="0"/>
              <a:t>Data </a:t>
            </a:r>
            <a:r>
              <a:rPr lang="de-DE" sz="1600" dirty="0" err="1" smtClean="0"/>
              <a:t>set</a:t>
            </a:r>
            <a:r>
              <a:rPr lang="de-DE" sz="1600" dirty="0" smtClean="0"/>
              <a:t>: Jede Dimension ist eine Variable (</a:t>
            </a:r>
            <a:r>
              <a:rPr lang="de-DE" sz="1600" b="1" dirty="0" smtClean="0"/>
              <a:t>&gt;3 </a:t>
            </a:r>
            <a:r>
              <a:rPr lang="de-DE" sz="1600" dirty="0" smtClean="0"/>
              <a:t>Dimensionen!),</a:t>
            </a:r>
          </a:p>
          <a:p>
            <a:r>
              <a:rPr lang="de-DE" sz="1600" dirty="0" smtClean="0"/>
              <a:t>Jeder Datenpunkt besteht aus genau einem Fall</a:t>
            </a:r>
            <a:endParaRPr lang="de-DE" sz="1600" dirty="0"/>
          </a:p>
        </p:txBody>
      </p:sp>
      <p:sp>
        <p:nvSpPr>
          <p:cNvPr id="14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3534409" y="7112498"/>
            <a:ext cx="4248000" cy="180000"/>
          </a:xfrm>
        </p:spPr>
        <p:txBody>
          <a:bodyPr/>
          <a:lstStyle/>
          <a:p>
            <a:pPr algn="r"/>
            <a:r>
              <a:rPr lang="de-DE" dirty="0" smtClean="0"/>
              <a:t>Data </a:t>
            </a:r>
            <a:r>
              <a:rPr lang="de-DE" dirty="0" err="1" smtClean="0"/>
              <a:t>Insights</a:t>
            </a:r>
            <a:r>
              <a:rPr lang="de-DE" dirty="0" smtClean="0"/>
              <a:t> unter Dr. Böhm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1126042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000" i="0" dirty="0" smtClean="0"/>
              <a:t>Werkzeugkasten: Mögliche Analyse-Ansätze für Zeitreihen</a:t>
            </a:r>
            <a:endParaRPr lang="de-DE" sz="2000" i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/>
        <p:txBody>
          <a:bodyPr>
            <a:noAutofit/>
          </a:bodyPr>
          <a:lstStyle/>
          <a:p>
            <a:r>
              <a:rPr lang="de-DE" dirty="0" smtClean="0"/>
              <a:t>Aus der Börse: </a:t>
            </a:r>
          </a:p>
          <a:p>
            <a:pPr lvl="1"/>
            <a:r>
              <a:rPr lang="de-DE" dirty="0" smtClean="0"/>
              <a:t>Modellierung einer Zeitreihe als stochastischer Prozess: </a:t>
            </a:r>
            <a:r>
              <a:rPr lang="de-DE" dirty="0" err="1" smtClean="0"/>
              <a:t>ArMa</a:t>
            </a:r>
            <a:r>
              <a:rPr lang="de-DE" dirty="0" smtClean="0"/>
              <a:t>, </a:t>
            </a:r>
            <a:r>
              <a:rPr lang="de-DE" dirty="0" err="1" smtClean="0"/>
              <a:t>Arima</a:t>
            </a:r>
            <a:r>
              <a:rPr lang="de-DE" dirty="0" smtClean="0"/>
              <a:t>, </a:t>
            </a:r>
            <a:r>
              <a:rPr lang="de-DE" dirty="0" err="1" smtClean="0"/>
              <a:t>Arch</a:t>
            </a:r>
            <a:r>
              <a:rPr lang="de-DE" dirty="0" smtClean="0"/>
              <a:t>, </a:t>
            </a:r>
            <a:r>
              <a:rPr lang="de-DE" dirty="0" err="1" smtClean="0"/>
              <a:t>Garch</a:t>
            </a:r>
            <a:r>
              <a:rPr lang="de-DE" dirty="0" smtClean="0"/>
              <a:t> </a:t>
            </a:r>
          </a:p>
          <a:p>
            <a:pPr lvl="1"/>
            <a:r>
              <a:rPr lang="de-DE" dirty="0" smtClean="0"/>
              <a:t>Versuch der Vorhersage eines </a:t>
            </a:r>
            <a:r>
              <a:rPr lang="de-DE" dirty="0" err="1" smtClean="0"/>
              <a:t>zukünfigen</a:t>
            </a:r>
            <a:r>
              <a:rPr lang="de-DE" dirty="0" smtClean="0"/>
              <a:t> Verlaufes</a:t>
            </a:r>
          </a:p>
          <a:p>
            <a:r>
              <a:rPr lang="de-DE" dirty="0" smtClean="0"/>
              <a:t>Komponentenmodell: Aufteilung der Zeitreihe in Trend, zyklische Komponente usw.#</a:t>
            </a:r>
          </a:p>
          <a:p>
            <a:pPr lvl="1"/>
            <a:r>
              <a:rPr lang="de-DE" dirty="0" smtClean="0"/>
              <a:t>Erklärung der Komponenten</a:t>
            </a:r>
          </a:p>
          <a:p>
            <a:r>
              <a:rPr lang="de-DE" dirty="0" smtClean="0"/>
              <a:t>Aus der Physik</a:t>
            </a:r>
          </a:p>
          <a:p>
            <a:pPr lvl="1"/>
            <a:r>
              <a:rPr lang="de-DE" dirty="0" smtClean="0"/>
              <a:t>Fourier-Analyse: Periodizität (Sinus-Schwingungskomponenten) der Zeitreihe nutzen</a:t>
            </a:r>
          </a:p>
          <a:p>
            <a:r>
              <a:rPr lang="de-DE" dirty="0" smtClean="0"/>
              <a:t>Aus der Mathematik</a:t>
            </a:r>
          </a:p>
          <a:p>
            <a:pPr lvl="1"/>
            <a:r>
              <a:rPr lang="de-DE" dirty="0" err="1" smtClean="0"/>
              <a:t>Wavelett</a:t>
            </a:r>
            <a:r>
              <a:rPr lang="de-DE" dirty="0" smtClean="0"/>
              <a:t>-Analyse: (Analog zu Fourier aber </a:t>
            </a:r>
            <a:r>
              <a:rPr lang="de-DE" dirty="0"/>
              <a:t>S</a:t>
            </a:r>
            <a:r>
              <a:rPr lang="de-DE" dirty="0" smtClean="0"/>
              <a:t>inus durch andere „Wellenform“ ausgetauscht</a:t>
            </a:r>
          </a:p>
          <a:p>
            <a:r>
              <a:rPr lang="de-DE" dirty="0" smtClean="0"/>
              <a:t>Aus der Informatik (</a:t>
            </a:r>
            <a:r>
              <a:rPr lang="de-DE" dirty="0" err="1" smtClean="0"/>
              <a:t>Markov</a:t>
            </a:r>
            <a:r>
              <a:rPr lang="de-DE" dirty="0" smtClean="0"/>
              <a:t>-Ketten)</a:t>
            </a:r>
          </a:p>
          <a:p>
            <a:pPr lvl="1"/>
            <a:r>
              <a:rPr lang="de-DE" dirty="0" smtClean="0"/>
              <a:t>Hidden </a:t>
            </a:r>
            <a:r>
              <a:rPr lang="de-DE" dirty="0" err="1" smtClean="0"/>
              <a:t>Markov</a:t>
            </a:r>
            <a:r>
              <a:rPr lang="de-DE" dirty="0" smtClean="0"/>
              <a:t> Modell: Zeitreihe entsteht aus „versteckten“ Zustände, welche hier gefunden und erklärt werden können, Übergangswahrscheinlichkeiten zwischen Zuständen</a:t>
            </a:r>
          </a:p>
          <a:p>
            <a:pPr marL="0" indent="0">
              <a:buNone/>
            </a:pPr>
            <a:endParaRPr lang="de-DE" dirty="0" smtClean="0"/>
          </a:p>
          <a:p>
            <a:pPr marL="0" indent="0" algn="ctr">
              <a:buNone/>
            </a:pPr>
            <a:r>
              <a:rPr lang="de-DE" dirty="0" smtClean="0"/>
              <a:t>Fazit: Ansatz hängt von der Problemstellung ab! -&gt; Experten fragen!</a:t>
            </a:r>
          </a:p>
          <a:p>
            <a:pPr marL="0" indent="0" algn="ctr">
              <a:buNone/>
            </a:pP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0E5539-D4DE-4918-9DA7-2B133DB5C73F}" type="datetime1">
              <a:rPr lang="de-DE" smtClean="0"/>
              <a:t>19.09.2017</a:t>
            </a:fld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DFEA48-2D48-4EF5-B029-0B8993B9B72D}" type="slidenum">
              <a:rPr lang="de-DE" smtClean="0"/>
              <a:pPr/>
              <a:t>12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en-US" dirty="0" err="1"/>
              <a:t>Teil</a:t>
            </a:r>
            <a:r>
              <a:rPr lang="en-US" dirty="0"/>
              <a:t> II: </a:t>
            </a:r>
            <a:r>
              <a:rPr lang="en-US" dirty="0" err="1"/>
              <a:t>Einführung</a:t>
            </a:r>
            <a:r>
              <a:rPr lang="en-US" dirty="0"/>
              <a:t> temporal Data Mining</a:t>
            </a:r>
          </a:p>
          <a:p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 smtClean="0"/>
              <a:t>Dr. Thrun</a:t>
            </a:r>
            <a:endParaRPr lang="de-DE" dirty="0"/>
          </a:p>
        </p:txBody>
      </p:sp>
      <p:sp>
        <p:nvSpPr>
          <p:cNvPr id="9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3534409" y="7112498"/>
            <a:ext cx="4248000" cy="180000"/>
          </a:xfrm>
        </p:spPr>
        <p:txBody>
          <a:bodyPr/>
          <a:lstStyle/>
          <a:p>
            <a:pPr algn="r"/>
            <a:r>
              <a:rPr lang="de-DE" dirty="0" smtClean="0"/>
              <a:t>Data </a:t>
            </a:r>
            <a:r>
              <a:rPr lang="de-DE" dirty="0" err="1" smtClean="0"/>
              <a:t>Insights</a:t>
            </a:r>
            <a:r>
              <a:rPr lang="de-DE" dirty="0" smtClean="0"/>
              <a:t> unter Dr. Böhme</a:t>
            </a:r>
            <a:endParaRPr lang="de-DE" dirty="0"/>
          </a:p>
        </p:txBody>
      </p:sp>
      <p:sp>
        <p:nvSpPr>
          <p:cNvPr id="10" name="Textplatzhalter 7"/>
          <p:cNvSpPr txBox="1">
            <a:spLocks/>
          </p:cNvSpPr>
          <p:nvPr/>
        </p:nvSpPr>
        <p:spPr>
          <a:xfrm>
            <a:off x="450850" y="6796533"/>
            <a:ext cx="5009520" cy="30749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 defTabSz="995690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chemeClr val="bg1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2563" indent="0" algn="l" defTabSz="995690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marL="357187" indent="0" algn="l" defTabSz="995690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marL="539750" indent="0" algn="l" defTabSz="995690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marL="712787" indent="0" algn="l" defTabSz="995690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73814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99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83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68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200" dirty="0" smtClean="0"/>
              <a:t>Details: Vorlesung Temporal Data Mining </a:t>
            </a:r>
            <a:r>
              <a:rPr lang="de-DE" sz="1200" dirty="0" err="1" smtClean="0"/>
              <a:t>by</a:t>
            </a:r>
            <a:r>
              <a:rPr lang="de-DE" sz="1200" dirty="0" smtClean="0"/>
              <a:t> Prof. Dr. </a:t>
            </a:r>
            <a:r>
              <a:rPr lang="de-DE" sz="1200" dirty="0" err="1" smtClean="0"/>
              <a:t>Ultsch</a:t>
            </a:r>
            <a:r>
              <a:rPr lang="de-DE" sz="1200" dirty="0" smtClean="0"/>
              <a:t>, Uni Marburg</a:t>
            </a:r>
            <a:endParaRPr lang="de-DE" sz="1200" dirty="0"/>
          </a:p>
        </p:txBody>
      </p:sp>
    </p:spTree>
    <p:extLst>
      <p:ext uri="{BB962C8B-B14F-4D97-AF65-F5344CB8AC3E}">
        <p14:creationId xmlns:p14="http://schemas.microsoft.com/office/powerpoint/2010/main" val="161524656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0" dirty="0" smtClean="0"/>
              <a:t>Hidden </a:t>
            </a:r>
            <a:r>
              <a:rPr lang="de-DE" b="0" dirty="0" err="1" smtClean="0"/>
              <a:t>Markov</a:t>
            </a:r>
            <a:r>
              <a:rPr lang="de-DE" b="0" dirty="0" smtClean="0"/>
              <a:t> Model</a:t>
            </a:r>
            <a:endParaRPr lang="de-DE" b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de-DE" dirty="0" err="1" smtClean="0"/>
              <a:t>Markov</a:t>
            </a:r>
            <a:r>
              <a:rPr lang="de-DE" dirty="0" smtClean="0"/>
              <a:t>-Kette: </a:t>
            </a:r>
            <a:r>
              <a:rPr lang="de-DE" dirty="0"/>
              <a:t>endlicher Automat aus Zuständen in Kreisen und Übergängen als </a:t>
            </a:r>
            <a:r>
              <a:rPr lang="de-DE" dirty="0" smtClean="0"/>
              <a:t>Kanten</a:t>
            </a:r>
          </a:p>
          <a:p>
            <a:pPr lvl="1"/>
            <a:r>
              <a:rPr lang="de-DE" dirty="0"/>
              <a:t>Übergänge zwischen Zuständen (</a:t>
            </a:r>
            <a:r>
              <a:rPr lang="de-DE" dirty="0" err="1"/>
              <a:t>i,j</a:t>
            </a:r>
            <a:r>
              <a:rPr lang="de-DE" dirty="0"/>
              <a:t>) </a:t>
            </a:r>
            <a:r>
              <a:rPr lang="de-DE" dirty="0" smtClean="0"/>
              <a:t>wahrscheinlichkeitsbasierend</a:t>
            </a:r>
          </a:p>
          <a:p>
            <a:pPr lvl="1"/>
            <a:r>
              <a:rPr lang="de-DE" dirty="0"/>
              <a:t>Übergangswahrscheinlichkeit kann zeitlich unabhängig </a:t>
            </a:r>
            <a:r>
              <a:rPr lang="de-DE" dirty="0" smtClean="0"/>
              <a:t>(1.Ordnung </a:t>
            </a:r>
            <a:r>
              <a:rPr lang="de-DE" dirty="0" err="1" smtClean="0"/>
              <a:t>Markov</a:t>
            </a:r>
            <a:r>
              <a:rPr lang="de-DE" dirty="0" smtClean="0"/>
              <a:t>)</a:t>
            </a:r>
          </a:p>
          <a:p>
            <a:pPr lvl="2"/>
            <a:r>
              <a:rPr lang="de-DE" dirty="0"/>
              <a:t>Die Kette aus Zuständen ist, abgesehen von letztvorherigen Zustand, unabhängig von </a:t>
            </a:r>
            <a:r>
              <a:rPr lang="de-DE" dirty="0" smtClean="0"/>
              <a:t>der Vergangenheit</a:t>
            </a:r>
          </a:p>
          <a:p>
            <a:r>
              <a:rPr lang="de-DE" dirty="0" smtClean="0"/>
              <a:t>„Hidden</a:t>
            </a:r>
            <a:r>
              <a:rPr lang="de-DE" dirty="0"/>
              <a:t>“, da nur Zeitreihe gegeben, aber keine eigentlichen </a:t>
            </a:r>
            <a:r>
              <a:rPr lang="de-DE" dirty="0" smtClean="0"/>
              <a:t>Zustände</a:t>
            </a:r>
          </a:p>
          <a:p>
            <a:pPr lvl="1"/>
            <a:r>
              <a:rPr lang="de-DE" dirty="0" smtClean="0"/>
              <a:t>=&gt; </a:t>
            </a:r>
            <a:r>
              <a:rPr lang="de-DE" dirty="0" err="1" smtClean="0"/>
              <a:t>Zustandsanstall</a:t>
            </a:r>
            <a:r>
              <a:rPr lang="de-DE" dirty="0" smtClean="0"/>
              <a:t> muss abgeschätzt werden</a:t>
            </a:r>
          </a:p>
          <a:p>
            <a:pPr lvl="1"/>
            <a:r>
              <a:rPr lang="de-DE" dirty="0" smtClean="0"/>
              <a:t>2 Algorithmen liefern dann </a:t>
            </a:r>
          </a:p>
          <a:p>
            <a:pPr lvl="2"/>
            <a:r>
              <a:rPr lang="de-DE" dirty="0" smtClean="0"/>
              <a:t>Übergangswahrscheinlichkeiten </a:t>
            </a:r>
          </a:p>
          <a:p>
            <a:pPr lvl="2"/>
            <a:r>
              <a:rPr lang="de-DE" dirty="0" smtClean="0"/>
              <a:t>Die Bestimmung </a:t>
            </a:r>
            <a:r>
              <a:rPr lang="de-DE" dirty="0"/>
              <a:t>der wahrscheinlichen Zustandsfolge bei gegebener </a:t>
            </a:r>
            <a:r>
              <a:rPr lang="de-DE" dirty="0" smtClean="0"/>
              <a:t>Beobachtung</a:t>
            </a:r>
            <a:endParaRPr lang="de-DE" dirty="0"/>
          </a:p>
          <a:p>
            <a:pPr lvl="3"/>
            <a:r>
              <a:rPr lang="de-DE" dirty="0"/>
              <a:t>d.h. </a:t>
            </a:r>
            <a:r>
              <a:rPr lang="de-DE" dirty="0" err="1"/>
              <a:t>Clusterung</a:t>
            </a:r>
            <a:r>
              <a:rPr lang="de-DE" dirty="0"/>
              <a:t> wird als Output wiedergegeb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0E5539-D4DE-4918-9DA7-2B133DB5C73F}" type="datetime1">
              <a:rPr lang="de-DE" smtClean="0"/>
              <a:t>19.09.2017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 smtClean="0"/>
              <a:t>CDO-Orga: Welcome Kick-Off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DFEA48-2D48-4EF5-B029-0B8993B9B72D}" type="slidenum">
              <a:rPr lang="de-DE" smtClean="0"/>
              <a:pPr/>
              <a:t>13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2"/>
          </p:nvPr>
        </p:nvSpPr>
        <p:spPr>
          <a:xfrm>
            <a:off x="7498196" y="6768113"/>
            <a:ext cx="2709429" cy="180000"/>
          </a:xfrm>
        </p:spPr>
        <p:txBody>
          <a:bodyPr/>
          <a:lstStyle/>
          <a:p>
            <a:r>
              <a:rPr lang="de-DE" sz="1200" dirty="0" smtClean="0"/>
              <a:t>Bild aus Wikipedia</a:t>
            </a:r>
            <a:endParaRPr lang="de-DE" sz="1200" dirty="0"/>
          </a:p>
        </p:txBody>
      </p:sp>
      <p:pic>
        <p:nvPicPr>
          <p:cNvPr id="9" name="Picture 2" descr="Hidden markov model.sv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8142" y="4705217"/>
            <a:ext cx="3438158" cy="20628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platzhalter 7"/>
          <p:cNvSpPr txBox="1">
            <a:spLocks/>
          </p:cNvSpPr>
          <p:nvPr/>
        </p:nvSpPr>
        <p:spPr>
          <a:xfrm>
            <a:off x="459947" y="7112498"/>
            <a:ext cx="2709429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 defTabSz="995690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chemeClr val="bg1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2563" indent="0" algn="l" defTabSz="995690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marL="357187" indent="0" algn="l" defTabSz="995690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marL="539750" indent="0" algn="l" defTabSz="995690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marL="712787" indent="0" algn="l" defTabSz="995690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73814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99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83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68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mtClean="0"/>
              <a:t>Dr. Thru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0357283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000" i="0" dirty="0" smtClean="0"/>
              <a:t>Zusammenfassung</a:t>
            </a:r>
            <a:endParaRPr lang="de-DE" sz="2000" i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/>
        <p:txBody>
          <a:bodyPr>
            <a:normAutofit/>
          </a:bodyPr>
          <a:lstStyle/>
          <a:p>
            <a:r>
              <a:rPr lang="de-DE" dirty="0" smtClean="0"/>
              <a:t>Tiefes Verständnis und Vorwissen aus der </a:t>
            </a:r>
            <a:r>
              <a:rPr lang="de-DE" dirty="0"/>
              <a:t>K</a:t>
            </a:r>
            <a:r>
              <a:rPr lang="de-DE" dirty="0" smtClean="0"/>
              <a:t>nowledge </a:t>
            </a:r>
            <a:r>
              <a:rPr lang="de-DE" dirty="0"/>
              <a:t>D</a:t>
            </a:r>
            <a:r>
              <a:rPr lang="de-DE" dirty="0" smtClean="0"/>
              <a:t>iscovery nötig</a:t>
            </a:r>
          </a:p>
          <a:p>
            <a:r>
              <a:rPr lang="de-DE" dirty="0"/>
              <a:t>Zeit ist ein schwierig zu behandelnde </a:t>
            </a:r>
            <a:r>
              <a:rPr lang="de-DE" dirty="0" smtClean="0"/>
              <a:t>Information</a:t>
            </a:r>
          </a:p>
          <a:p>
            <a:r>
              <a:rPr lang="de-DE" dirty="0" smtClean="0"/>
              <a:t>Langwierige und zeitaufwendige Analyse mit viel Rücksprache mit Experten nötig</a:t>
            </a:r>
          </a:p>
          <a:p>
            <a:r>
              <a:rPr lang="de-DE" dirty="0" smtClean="0"/>
              <a:t>80% Prozent des gefunden Wissens ist nur eine Reproduktion von Experten bekannten Wissen </a:t>
            </a:r>
          </a:p>
          <a:p>
            <a:pPr lvl="1"/>
            <a:r>
              <a:rPr lang="de-DE" dirty="0" smtClean="0"/>
              <a:t>Siehe Beispiel</a:t>
            </a:r>
            <a:r>
              <a:rPr lang="de-DE" dirty="0"/>
              <a:t> </a:t>
            </a:r>
            <a:r>
              <a:rPr lang="de-DE" dirty="0" smtClean="0"/>
              <a:t>Volatilität</a:t>
            </a:r>
          </a:p>
          <a:p>
            <a:r>
              <a:rPr lang="de-DE" dirty="0" smtClean="0"/>
              <a:t>Aber die neuen 20% sind überraschend und relevant für Kostenreduktion oder zur Generierung von neuem Geschäftserfolg</a:t>
            </a:r>
          </a:p>
          <a:p>
            <a:r>
              <a:rPr lang="de-DE" dirty="0" smtClean="0"/>
              <a:t>Herausforderung für Data Scientist</a:t>
            </a:r>
          </a:p>
          <a:p>
            <a:pPr lvl="1"/>
            <a:r>
              <a:rPr lang="de-DE" dirty="0" smtClean="0"/>
              <a:t>Extraktion einer präzisen Problemstellung, welche mit vorliegenden Daten behandelbar ist</a:t>
            </a:r>
          </a:p>
          <a:p>
            <a:pPr lvl="1"/>
            <a:r>
              <a:rPr lang="de-DE" dirty="0" smtClean="0"/>
              <a:t>Darstellung und Erklärung von Ergebnissen </a:t>
            </a:r>
          </a:p>
          <a:p>
            <a:pPr lvl="1"/>
            <a:r>
              <a:rPr lang="de-DE" dirty="0" smtClean="0"/>
              <a:t>Für Menschen verständliche Wissensextraktion (s. </a:t>
            </a:r>
            <a:r>
              <a:rPr lang="de-DE" dirty="0"/>
              <a:t>K</a:t>
            </a:r>
            <a:r>
              <a:rPr lang="de-DE" dirty="0" smtClean="0"/>
              <a:t>nowledge </a:t>
            </a:r>
            <a:r>
              <a:rPr lang="de-DE" dirty="0" err="1"/>
              <a:t>A</a:t>
            </a:r>
            <a:r>
              <a:rPr lang="de-DE" dirty="0" err="1" smtClean="0"/>
              <a:t>quisition</a:t>
            </a:r>
            <a:r>
              <a:rPr lang="de-DE" dirty="0" smtClean="0"/>
              <a:t>) aus Algorithmen (z.B. </a:t>
            </a:r>
            <a:r>
              <a:rPr lang="de-DE" dirty="0" err="1" smtClean="0"/>
              <a:t>Machine</a:t>
            </a:r>
            <a:r>
              <a:rPr lang="de-DE" dirty="0" smtClean="0"/>
              <a:t> Learning)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0E5539-D4DE-4918-9DA7-2B133DB5C73F}" type="datetime1">
              <a:rPr lang="de-DE" smtClean="0"/>
              <a:t>19.09.2017</a:t>
            </a:fld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DFEA48-2D48-4EF5-B029-0B8993B9B72D}" type="slidenum">
              <a:rPr lang="de-DE" smtClean="0"/>
              <a:pPr/>
              <a:t>14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en-US" dirty="0" err="1"/>
              <a:t>Teil</a:t>
            </a:r>
            <a:r>
              <a:rPr lang="en-US" dirty="0"/>
              <a:t> II: </a:t>
            </a:r>
            <a:r>
              <a:rPr lang="en-US" dirty="0" err="1"/>
              <a:t>Einführung</a:t>
            </a:r>
            <a:r>
              <a:rPr lang="en-US" dirty="0"/>
              <a:t> temporal Data Mining</a:t>
            </a:r>
          </a:p>
          <a:p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 smtClean="0"/>
              <a:t>Dr. Thrun</a:t>
            </a:r>
            <a:endParaRPr lang="de-DE" dirty="0"/>
          </a:p>
        </p:txBody>
      </p:sp>
      <p:sp>
        <p:nvSpPr>
          <p:cNvPr id="9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3534409" y="7112498"/>
            <a:ext cx="4248000" cy="180000"/>
          </a:xfrm>
        </p:spPr>
        <p:txBody>
          <a:bodyPr/>
          <a:lstStyle/>
          <a:p>
            <a:pPr algn="r"/>
            <a:r>
              <a:rPr lang="de-DE" dirty="0" smtClean="0"/>
              <a:t>Data </a:t>
            </a:r>
            <a:r>
              <a:rPr lang="de-DE" dirty="0" err="1" smtClean="0"/>
              <a:t>Insights</a:t>
            </a:r>
            <a:r>
              <a:rPr lang="de-DE" dirty="0" smtClean="0"/>
              <a:t> unter Dr. Böhm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9655391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1598839"/>
            <a:ext cx="9756000" cy="5400675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endParaRPr lang="de-DE" sz="2000" dirty="0" smtClean="0"/>
          </a:p>
          <a:p>
            <a:pPr marL="0" indent="0" algn="ctr">
              <a:buNone/>
            </a:pPr>
            <a:endParaRPr lang="de-DE" sz="2000" dirty="0"/>
          </a:p>
          <a:p>
            <a:pPr marL="0" indent="0" algn="ctr">
              <a:buNone/>
            </a:pPr>
            <a:endParaRPr lang="de-DE" sz="2000" dirty="0" smtClean="0"/>
          </a:p>
          <a:p>
            <a:pPr marL="0" indent="0" algn="ctr">
              <a:buNone/>
            </a:pPr>
            <a:endParaRPr lang="de-DE" sz="2000" dirty="0"/>
          </a:p>
          <a:p>
            <a:pPr marL="0" indent="0" algn="ctr">
              <a:buNone/>
            </a:pPr>
            <a:endParaRPr lang="de-DE" sz="2000" dirty="0" smtClean="0"/>
          </a:p>
          <a:p>
            <a:pPr marL="0" indent="0" algn="ctr">
              <a:buNone/>
            </a:pPr>
            <a:r>
              <a:rPr lang="de-DE" sz="2000" dirty="0" smtClean="0"/>
              <a:t>Vielen Dank fürs Zuhören.</a:t>
            </a:r>
          </a:p>
          <a:p>
            <a:pPr marL="0" indent="0" algn="ctr">
              <a:buNone/>
            </a:pPr>
            <a:r>
              <a:rPr lang="de-DE" sz="2000" dirty="0" smtClean="0"/>
              <a:t>Noch Fragen?</a:t>
            </a:r>
            <a:endParaRPr lang="de-DE" sz="200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0E5539-D4DE-4918-9DA7-2B133DB5C73F}" type="datetime1">
              <a:rPr lang="de-DE" smtClean="0"/>
              <a:t>19.09.2017</a:t>
            </a:fld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DFEA48-2D48-4EF5-B029-0B8993B9B72D}" type="slidenum">
              <a:rPr lang="de-DE" smtClean="0"/>
              <a:pPr/>
              <a:t>15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en-US" dirty="0" err="1"/>
              <a:t>Teil</a:t>
            </a:r>
            <a:r>
              <a:rPr lang="en-US" dirty="0"/>
              <a:t> II: </a:t>
            </a:r>
            <a:r>
              <a:rPr lang="en-US" dirty="0" err="1"/>
              <a:t>Einführung</a:t>
            </a:r>
            <a:r>
              <a:rPr lang="en-US" dirty="0"/>
              <a:t> temporal Data Mining</a:t>
            </a:r>
          </a:p>
          <a:p>
            <a:endParaRPr lang="de-DE" dirty="0"/>
          </a:p>
        </p:txBody>
      </p:sp>
      <p:sp>
        <p:nvSpPr>
          <p:cNvPr id="9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3534409" y="7112498"/>
            <a:ext cx="4248000" cy="180000"/>
          </a:xfrm>
        </p:spPr>
        <p:txBody>
          <a:bodyPr/>
          <a:lstStyle/>
          <a:p>
            <a:pPr algn="r"/>
            <a:r>
              <a:rPr lang="de-DE" dirty="0" smtClean="0"/>
              <a:t>Data </a:t>
            </a:r>
            <a:r>
              <a:rPr lang="de-DE" dirty="0" err="1" smtClean="0"/>
              <a:t>Insights</a:t>
            </a:r>
            <a:r>
              <a:rPr lang="de-DE" dirty="0" smtClean="0"/>
              <a:t> unter Dr. Böhme</a:t>
            </a:r>
            <a:endParaRPr lang="de-DE" dirty="0"/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/>
          <a:lstStyle/>
          <a:p>
            <a:r>
              <a:rPr lang="de-DE" dirty="0" smtClean="0"/>
              <a:t>Dr. Thru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2656526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000" i="0" dirty="0" smtClean="0"/>
              <a:t>Temporal Data Mining</a:t>
            </a:r>
            <a:endParaRPr lang="de-DE" sz="2000" i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/>
        <p:txBody>
          <a:bodyPr>
            <a:noAutofit/>
          </a:bodyPr>
          <a:lstStyle/>
          <a:p>
            <a:r>
              <a:rPr lang="de-DE" dirty="0" smtClean="0"/>
              <a:t>Data </a:t>
            </a:r>
            <a:r>
              <a:rPr lang="de-DE" dirty="0" err="1" smtClean="0"/>
              <a:t>mining</a:t>
            </a:r>
            <a:r>
              <a:rPr lang="de-DE" dirty="0" smtClean="0"/>
              <a:t> ist ein Teilbereich der </a:t>
            </a:r>
            <a:r>
              <a:rPr lang="de-DE" dirty="0" err="1" smtClean="0"/>
              <a:t>knowledge</a:t>
            </a:r>
            <a:r>
              <a:rPr lang="de-DE" dirty="0" smtClean="0"/>
              <a:t> </a:t>
            </a:r>
            <a:r>
              <a:rPr lang="de-DE" dirty="0" err="1" smtClean="0"/>
              <a:t>discovery</a:t>
            </a:r>
            <a:r>
              <a:rPr lang="de-DE" dirty="0" smtClean="0"/>
              <a:t> (</a:t>
            </a:r>
            <a:r>
              <a:rPr lang="de-DE" b="1" dirty="0" smtClean="0"/>
              <a:t>KD</a:t>
            </a:r>
            <a:r>
              <a:rPr lang="de-DE" dirty="0" smtClean="0"/>
              <a:t>)</a:t>
            </a:r>
          </a:p>
          <a:p>
            <a:r>
              <a:rPr lang="de-DE" dirty="0" smtClean="0"/>
              <a:t>Temporal: Betrachtung von Zeitreihen</a:t>
            </a:r>
          </a:p>
          <a:p>
            <a:pPr lvl="1"/>
            <a:r>
              <a:rPr lang="de-DE" dirty="0" smtClean="0"/>
              <a:t>Fälle sind Messungen zu einer bestimmten Zeit</a:t>
            </a:r>
          </a:p>
          <a:p>
            <a:r>
              <a:rPr lang="de-DE" dirty="0" smtClean="0"/>
              <a:t>Temporal </a:t>
            </a:r>
            <a:r>
              <a:rPr lang="de-DE" dirty="0"/>
              <a:t>Data </a:t>
            </a:r>
            <a:r>
              <a:rPr lang="de-DE" dirty="0" smtClean="0"/>
              <a:t>Mining </a:t>
            </a:r>
          </a:p>
          <a:p>
            <a:pPr lvl="1"/>
            <a:r>
              <a:rPr lang="de-DE" dirty="0" smtClean="0"/>
              <a:t>Zeit ist ein schwierig zu behandelnde Information</a:t>
            </a:r>
          </a:p>
          <a:p>
            <a:pPr lvl="1"/>
            <a:r>
              <a:rPr lang="de-DE" dirty="0" smtClean="0"/>
              <a:t>hat </a:t>
            </a:r>
            <a:r>
              <a:rPr lang="de-DE" dirty="0"/>
              <a:t>m</a:t>
            </a:r>
            <a:r>
              <a:rPr lang="de-DE" dirty="0" smtClean="0"/>
              <a:t>ögliche Fragestellung </a:t>
            </a:r>
          </a:p>
          <a:p>
            <a:pPr lvl="2"/>
            <a:r>
              <a:rPr lang="de-DE" dirty="0" smtClean="0"/>
              <a:t>Welche </a:t>
            </a:r>
            <a:r>
              <a:rPr lang="de-DE" dirty="0"/>
              <a:t>Prozesse </a:t>
            </a:r>
            <a:r>
              <a:rPr lang="de-DE" dirty="0" smtClean="0"/>
              <a:t>führen zu dieser Zeitreihe oder Zukunftsprognos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0E5539-D4DE-4918-9DA7-2B133DB5C73F}" type="datetime1">
              <a:rPr lang="de-DE" smtClean="0"/>
              <a:t>19.09.2017</a:t>
            </a:fld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DFEA48-2D48-4EF5-B029-0B8993B9B72D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en-US" dirty="0" err="1"/>
              <a:t>Teil</a:t>
            </a:r>
            <a:r>
              <a:rPr lang="en-US" dirty="0"/>
              <a:t> II: </a:t>
            </a:r>
            <a:r>
              <a:rPr lang="en-US" dirty="0" err="1"/>
              <a:t>Einführung</a:t>
            </a:r>
            <a:r>
              <a:rPr lang="en-US" dirty="0"/>
              <a:t> temporal Data Mining</a:t>
            </a:r>
          </a:p>
          <a:p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 smtClean="0"/>
              <a:t>Dr. Thrun</a:t>
            </a:r>
            <a:endParaRPr lang="de-DE" dirty="0"/>
          </a:p>
        </p:txBody>
      </p:sp>
      <p:sp>
        <p:nvSpPr>
          <p:cNvPr id="9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3534409" y="7112498"/>
            <a:ext cx="4248000" cy="180000"/>
          </a:xfrm>
        </p:spPr>
        <p:txBody>
          <a:bodyPr/>
          <a:lstStyle/>
          <a:p>
            <a:pPr algn="r"/>
            <a:r>
              <a:rPr lang="de-DE" dirty="0" smtClean="0"/>
              <a:t>Data </a:t>
            </a:r>
            <a:r>
              <a:rPr lang="de-DE" dirty="0" err="1" smtClean="0"/>
              <a:t>Insights</a:t>
            </a:r>
            <a:r>
              <a:rPr lang="de-DE" dirty="0" smtClean="0"/>
              <a:t> unter Dr. Böhme</a:t>
            </a:r>
            <a:endParaRPr lang="de-DE" dirty="0"/>
          </a:p>
        </p:txBody>
      </p:sp>
      <p:pic>
        <p:nvPicPr>
          <p:cNvPr id="10" name="Picture 6"/>
          <p:cNvPicPr>
            <a:picLocks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7" t="8551" r="547" b="14185"/>
          <a:stretch/>
        </p:blipFill>
        <p:spPr bwMode="auto">
          <a:xfrm>
            <a:off x="2619023" y="3736622"/>
            <a:ext cx="7349066" cy="3104445"/>
          </a:xfrm>
          <a:prstGeom prst="rect">
            <a:avLst/>
          </a:prstGeom>
          <a:solidFill>
            <a:srgbClr val="C00000"/>
          </a:solidFill>
          <a:ln>
            <a:solidFill>
              <a:schemeClr val="accent1"/>
            </a:solidFill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18313594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000" i="0" dirty="0" smtClean="0"/>
              <a:t>Spezielle Herausforderungen bei der </a:t>
            </a:r>
            <a:r>
              <a:rPr lang="de-DE" sz="2000" i="0" dirty="0"/>
              <a:t>A</a:t>
            </a:r>
            <a:r>
              <a:rPr lang="de-DE" sz="2000" i="0" dirty="0" smtClean="0"/>
              <a:t>nalyse von Zeitreihen</a:t>
            </a:r>
            <a:endParaRPr lang="de-DE" sz="2000" i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Probleme </a:t>
            </a:r>
          </a:p>
          <a:p>
            <a:pPr lvl="1"/>
            <a:r>
              <a:rPr lang="de-DE" dirty="0" smtClean="0"/>
              <a:t>Abtastrate: </a:t>
            </a:r>
            <a:r>
              <a:rPr lang="de-DE" dirty="0"/>
              <a:t>Wie oft pro Zeiteinheit ist es sinnvoll zu messen und zu speichern</a:t>
            </a:r>
          </a:p>
          <a:p>
            <a:pPr marL="995690" lvl="2" indent="0">
              <a:buNone/>
            </a:pPr>
            <a:r>
              <a:rPr lang="de-DE" dirty="0"/>
              <a:t>-&gt;</a:t>
            </a:r>
            <a:r>
              <a:rPr lang="de-DE" dirty="0" smtClean="0"/>
              <a:t>Experten fragen</a:t>
            </a:r>
          </a:p>
          <a:p>
            <a:r>
              <a:rPr lang="de-DE" dirty="0" smtClean="0"/>
              <a:t>Ist der zeitliche Abstand zweier Messungen konstant?</a:t>
            </a:r>
          </a:p>
          <a:p>
            <a:pPr lvl="1"/>
            <a:r>
              <a:rPr lang="de-DE" dirty="0" smtClean="0"/>
              <a:t>Beim Vergleich mehrerer Zeitreihen („multivariate Analyse“) – Wie wählt man Auflösung</a:t>
            </a:r>
          </a:p>
          <a:p>
            <a:pPr lvl="1"/>
            <a:r>
              <a:rPr lang="de-DE" dirty="0" smtClean="0"/>
              <a:t>„Geschickte“ problembezogene Vorverarbeitung!</a:t>
            </a:r>
          </a:p>
          <a:p>
            <a:pPr lvl="1"/>
            <a:r>
              <a:rPr lang="de-DE" dirty="0" smtClean="0"/>
              <a:t>Wann sind sich Zeitreihen </a:t>
            </a:r>
            <a:r>
              <a:rPr lang="de-DE" b="1" dirty="0" smtClean="0"/>
              <a:t>ähnlich</a:t>
            </a:r>
            <a:r>
              <a:rPr lang="de-DE" dirty="0" smtClean="0"/>
              <a:t>?</a:t>
            </a:r>
          </a:p>
          <a:p>
            <a:pPr lvl="2"/>
            <a:r>
              <a:rPr lang="de-DE" dirty="0" smtClean="0"/>
              <a:t>Beispiel: Temperaturverläufe im selben Boiler an verschiedenen Tagen oder in verschiedenen Boilern an selben Tagen</a:t>
            </a:r>
          </a:p>
          <a:p>
            <a:r>
              <a:rPr lang="de-DE" dirty="0" smtClean="0"/>
              <a:t>Für eine Lösungsansatz</a:t>
            </a:r>
          </a:p>
          <a:p>
            <a:pPr lvl="1"/>
            <a:r>
              <a:rPr lang="de-DE" dirty="0" smtClean="0"/>
              <a:t>Zuerst zeitunabhängige </a:t>
            </a:r>
            <a:r>
              <a:rPr lang="de-DE" dirty="0" err="1" smtClean="0"/>
              <a:t>knowledge</a:t>
            </a:r>
            <a:r>
              <a:rPr lang="de-DE" dirty="0" smtClean="0"/>
              <a:t> </a:t>
            </a:r>
            <a:r>
              <a:rPr lang="de-DE" dirty="0" err="1" smtClean="0"/>
              <a:t>discovery</a:t>
            </a:r>
            <a:r>
              <a:rPr lang="de-DE" dirty="0" smtClean="0"/>
              <a:t> (KD)</a:t>
            </a:r>
            <a:endParaRPr lang="de-DE" dirty="0"/>
          </a:p>
          <a:p>
            <a:endParaRPr lang="de-DE" sz="110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0E5539-D4DE-4918-9DA7-2B133DB5C73F}" type="datetime1">
              <a:rPr lang="de-DE" smtClean="0"/>
              <a:t>19.09.2017</a:t>
            </a:fld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DFEA48-2D48-4EF5-B029-0B8993B9B72D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en-US" dirty="0" err="1"/>
              <a:t>Teil</a:t>
            </a:r>
            <a:r>
              <a:rPr lang="en-US" dirty="0"/>
              <a:t> II: </a:t>
            </a:r>
            <a:r>
              <a:rPr lang="en-US" dirty="0" err="1"/>
              <a:t>Einführung</a:t>
            </a:r>
            <a:r>
              <a:rPr lang="en-US" dirty="0"/>
              <a:t> temporal Data Mining</a:t>
            </a:r>
          </a:p>
          <a:p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 smtClean="0"/>
              <a:t>Dr. Thrun</a:t>
            </a:r>
            <a:endParaRPr lang="de-DE" dirty="0"/>
          </a:p>
        </p:txBody>
      </p:sp>
      <p:sp>
        <p:nvSpPr>
          <p:cNvPr id="9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3534409" y="7112498"/>
            <a:ext cx="4248000" cy="180000"/>
          </a:xfrm>
        </p:spPr>
        <p:txBody>
          <a:bodyPr/>
          <a:lstStyle/>
          <a:p>
            <a:pPr algn="r"/>
            <a:r>
              <a:rPr lang="de-DE" dirty="0" smtClean="0"/>
              <a:t>Data </a:t>
            </a:r>
            <a:r>
              <a:rPr lang="de-DE" dirty="0" err="1" smtClean="0"/>
              <a:t>Insights</a:t>
            </a:r>
            <a:r>
              <a:rPr lang="de-DE" dirty="0" smtClean="0"/>
              <a:t> unter Dr. Böhm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6477925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000" i="0" dirty="0" smtClean="0"/>
              <a:t>Temporal Data Mining</a:t>
            </a:r>
            <a:endParaRPr lang="de-DE" sz="2000" i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0E5539-D4DE-4918-9DA7-2B133DB5C73F}" type="datetime1">
              <a:rPr lang="de-DE" smtClean="0"/>
              <a:t>19.09.2017</a:t>
            </a:fld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DFEA48-2D48-4EF5-B029-0B8993B9B72D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en-US" dirty="0" err="1"/>
              <a:t>Teil</a:t>
            </a:r>
            <a:r>
              <a:rPr lang="en-US" dirty="0"/>
              <a:t> II: </a:t>
            </a:r>
            <a:r>
              <a:rPr lang="en-US" dirty="0" err="1"/>
              <a:t>Einführung</a:t>
            </a:r>
            <a:r>
              <a:rPr lang="en-US" dirty="0"/>
              <a:t> temporal Data Mining</a:t>
            </a:r>
          </a:p>
          <a:p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 smtClean="0"/>
              <a:t>Dr. Thrun</a:t>
            </a:r>
            <a:endParaRPr lang="de-DE" dirty="0"/>
          </a:p>
        </p:txBody>
      </p:sp>
      <p:sp>
        <p:nvSpPr>
          <p:cNvPr id="9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3534409" y="7112498"/>
            <a:ext cx="4248000" cy="180000"/>
          </a:xfrm>
        </p:spPr>
        <p:txBody>
          <a:bodyPr/>
          <a:lstStyle/>
          <a:p>
            <a:pPr algn="r"/>
            <a:r>
              <a:rPr lang="de-DE" dirty="0" smtClean="0"/>
              <a:t>Data </a:t>
            </a:r>
            <a:r>
              <a:rPr lang="de-DE" dirty="0" err="1" smtClean="0"/>
              <a:t>Insights</a:t>
            </a:r>
            <a:r>
              <a:rPr lang="de-DE" dirty="0" smtClean="0"/>
              <a:t> unter Dr. Böhme</a:t>
            </a:r>
            <a:endParaRPr lang="de-DE" dirty="0"/>
          </a:p>
        </p:txBody>
      </p:sp>
      <p:pic>
        <p:nvPicPr>
          <p:cNvPr id="10" name="Picture 6"/>
          <p:cNvPicPr>
            <a:picLocks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7" t="8551" r="547" b="14185"/>
          <a:stretch/>
        </p:blipFill>
        <p:spPr bwMode="auto">
          <a:xfrm>
            <a:off x="564252" y="1729854"/>
            <a:ext cx="8985956" cy="4933245"/>
          </a:xfrm>
          <a:prstGeom prst="rect">
            <a:avLst/>
          </a:prstGeom>
          <a:solidFill>
            <a:srgbClr val="C00000"/>
          </a:solidFill>
          <a:ln>
            <a:solidFill>
              <a:schemeClr val="accent1"/>
            </a:solidFill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11" name="Rechteck 10"/>
          <p:cNvSpPr/>
          <p:nvPr/>
        </p:nvSpPr>
        <p:spPr>
          <a:xfrm>
            <a:off x="2089596" y="2372355"/>
            <a:ext cx="2606582" cy="3464001"/>
          </a:xfrm>
          <a:prstGeom prst="rect">
            <a:avLst/>
          </a:prstGeom>
          <a:noFill/>
          <a:ln w="635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3786626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000" i="0" dirty="0" smtClean="0"/>
              <a:t>Feature </a:t>
            </a:r>
            <a:r>
              <a:rPr lang="de-DE" sz="2000" i="0" dirty="0" err="1" smtClean="0"/>
              <a:t>Selection</a:t>
            </a:r>
            <a:r>
              <a:rPr lang="de-DE" sz="2000" i="0" dirty="0" smtClean="0"/>
              <a:t>: Temperatur-Warmwasser</a:t>
            </a:r>
            <a:endParaRPr lang="de-DE" sz="2000" i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0E5539-D4DE-4918-9DA7-2B133DB5C73F}" type="datetime1">
              <a:rPr lang="de-DE" smtClean="0"/>
              <a:t>19.09.2017</a:t>
            </a:fld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DFEA48-2D48-4EF5-B029-0B8993B9B72D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en-US" dirty="0" err="1"/>
              <a:t>Teil</a:t>
            </a:r>
            <a:r>
              <a:rPr lang="en-US" dirty="0"/>
              <a:t> II: </a:t>
            </a:r>
            <a:r>
              <a:rPr lang="en-US" dirty="0" err="1"/>
              <a:t>Einführung</a:t>
            </a:r>
            <a:r>
              <a:rPr lang="en-US" dirty="0"/>
              <a:t> temporal Data Mining</a:t>
            </a:r>
          </a:p>
          <a:p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 smtClean="0"/>
              <a:t>Dr. Thrun</a:t>
            </a:r>
            <a:endParaRPr lang="de-DE" dirty="0"/>
          </a:p>
        </p:txBody>
      </p:sp>
      <p:sp>
        <p:nvSpPr>
          <p:cNvPr id="10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3534409" y="7112498"/>
            <a:ext cx="4248000" cy="180000"/>
          </a:xfrm>
        </p:spPr>
        <p:txBody>
          <a:bodyPr/>
          <a:lstStyle/>
          <a:p>
            <a:pPr algn="r"/>
            <a:r>
              <a:rPr lang="de-DE" dirty="0" smtClean="0"/>
              <a:t>Data </a:t>
            </a:r>
            <a:r>
              <a:rPr lang="de-DE" dirty="0" err="1" smtClean="0"/>
              <a:t>Insights</a:t>
            </a:r>
            <a:r>
              <a:rPr lang="de-DE" dirty="0" smtClean="0"/>
              <a:t> unter Dr. Böhme</a:t>
            </a:r>
            <a:endParaRPr lang="de-DE" dirty="0"/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74" y="3080217"/>
            <a:ext cx="6345239" cy="3987161"/>
          </a:xfrm>
          <a:prstGeom prst="rect">
            <a:avLst/>
          </a:prstGeom>
        </p:spPr>
      </p:pic>
      <p:sp>
        <p:nvSpPr>
          <p:cNvPr id="13" name="Inhaltsplatzhalter 12"/>
          <p:cNvSpPr>
            <a:spLocks noGrp="1"/>
          </p:cNvSpPr>
          <p:nvPr>
            <p:ph sz="half" idx="1"/>
          </p:nvPr>
        </p:nvSpPr>
        <p:spPr>
          <a:xfrm>
            <a:off x="450850" y="1280456"/>
            <a:ext cx="9756000" cy="1893138"/>
          </a:xfrm>
        </p:spPr>
        <p:txBody>
          <a:bodyPr>
            <a:noAutofit/>
          </a:bodyPr>
          <a:lstStyle/>
          <a:p>
            <a:r>
              <a:rPr lang="de-DE" dirty="0" smtClean="0"/>
              <a:t>Schwierigkeiten:</a:t>
            </a:r>
          </a:p>
          <a:p>
            <a:pPr lvl="1"/>
            <a:r>
              <a:rPr lang="de-DE" dirty="0" smtClean="0"/>
              <a:t>Fehlstellen behandeln, unter Umständen: Mittelwertbereinigung usw.</a:t>
            </a:r>
          </a:p>
          <a:p>
            <a:pPr lvl="1"/>
            <a:r>
              <a:rPr lang="de-DE" dirty="0" smtClean="0"/>
              <a:t>Bezug </a:t>
            </a:r>
            <a:r>
              <a:rPr lang="de-DE" dirty="0" smtClean="0"/>
              <a:t>zu (Kesseltemperatur, Vorlauf, Auslauf, usw.), Bezug zu nicht zahlenbehafteten Variablen (z.B. An/Abschaltvorgang diverser Pumpen), </a:t>
            </a:r>
            <a:r>
              <a:rPr lang="de-DE" dirty="0" err="1" smtClean="0"/>
              <a:t>usw</a:t>
            </a:r>
            <a:r>
              <a:rPr lang="de-DE" dirty="0" smtClean="0"/>
              <a:t>…</a:t>
            </a:r>
          </a:p>
          <a:p>
            <a:r>
              <a:rPr lang="de-DE" dirty="0" smtClean="0"/>
              <a:t>Erfordert Erfahrung mit dem Umgang von Zeitreihen und viele Rückfragen beim Experten</a:t>
            </a:r>
          </a:p>
          <a:p>
            <a:pPr marL="0" indent="0" algn="ctr">
              <a:buNone/>
            </a:pPr>
            <a:r>
              <a:rPr lang="de-DE" i="1" dirty="0" smtClean="0"/>
              <a:t>Achtung: Simples Rechnen mit standardisierten Kennzahlen sinnlos! (Hier Mittelwert 49°C)</a:t>
            </a:r>
            <a:endParaRPr lang="de-DE" i="1" dirty="0"/>
          </a:p>
        </p:txBody>
      </p:sp>
      <p:pic>
        <p:nvPicPr>
          <p:cNvPr id="14" name="Grafik 1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6780" y="2944232"/>
            <a:ext cx="4123146" cy="41231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648427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i="0" dirty="0" smtClean="0"/>
              <a:t>Welches Zeitfenster?</a:t>
            </a:r>
            <a:endParaRPr lang="de-DE" i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1429983"/>
            <a:ext cx="5285760" cy="347019"/>
          </a:xfrm>
        </p:spPr>
        <p:txBody>
          <a:bodyPr/>
          <a:lstStyle/>
          <a:p>
            <a:r>
              <a:rPr lang="de-DE" dirty="0" smtClean="0"/>
              <a:t>Angepasst an Problemstellung -&gt;Experten frage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0E5539-D4DE-4918-9DA7-2B133DB5C73F}" type="datetime1">
              <a:rPr lang="de-DE" smtClean="0"/>
              <a:t>19.09.2017</a:t>
            </a:fld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DFEA48-2D48-4EF5-B029-0B8993B9B72D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 smtClean="0"/>
              <a:t>Dr. Thrun</a:t>
            </a:r>
            <a:endParaRPr lang="de-DE" dirty="0"/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206" y="1777002"/>
            <a:ext cx="4776717" cy="3001548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205" y="4778550"/>
            <a:ext cx="4776717" cy="2184422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7547" y="4287011"/>
            <a:ext cx="2847517" cy="2847517"/>
          </a:xfrm>
          <a:prstGeom prst="rect">
            <a:avLst/>
          </a:prstGeom>
        </p:spPr>
      </p:pic>
      <p:pic>
        <p:nvPicPr>
          <p:cNvPr id="13" name="Grafik 1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7548" y="1407953"/>
            <a:ext cx="2847517" cy="2847517"/>
          </a:xfrm>
          <a:prstGeom prst="rect">
            <a:avLst/>
          </a:prstGeom>
        </p:spPr>
      </p:pic>
      <p:sp>
        <p:nvSpPr>
          <p:cNvPr id="14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3534409" y="7112498"/>
            <a:ext cx="4248000" cy="180000"/>
          </a:xfrm>
        </p:spPr>
        <p:txBody>
          <a:bodyPr/>
          <a:lstStyle/>
          <a:p>
            <a:pPr algn="r"/>
            <a:r>
              <a:rPr lang="de-DE" dirty="0" smtClean="0"/>
              <a:t>Data </a:t>
            </a:r>
            <a:r>
              <a:rPr lang="de-DE" dirty="0" err="1" smtClean="0"/>
              <a:t>Insights</a:t>
            </a:r>
            <a:r>
              <a:rPr lang="de-DE" dirty="0" smtClean="0"/>
              <a:t> unter Dr. Böhme</a:t>
            </a:r>
            <a:endParaRPr lang="de-DE" dirty="0"/>
          </a:p>
        </p:txBody>
      </p:sp>
      <p:sp>
        <p:nvSpPr>
          <p:cNvPr id="15" name="Inhaltsplatzhalter 2"/>
          <p:cNvSpPr txBox="1">
            <a:spLocks/>
          </p:cNvSpPr>
          <p:nvPr/>
        </p:nvSpPr>
        <p:spPr>
          <a:xfrm>
            <a:off x="5518044" y="3465523"/>
            <a:ext cx="2264365" cy="262605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182563" indent="-182563" algn="l" defTabSz="99569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14375" indent="-217488" algn="l" defTabSz="99569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marL="1244613" indent="-248923" algn="l" defTabSz="99569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marL="1742458" indent="-248923" algn="l" defTabSz="99569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marL="2240303" indent="-248923" algn="l" defTabSz="99569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73814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99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83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68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i="1" dirty="0" smtClean="0"/>
              <a:t>Oben und unten sind Visualisierungen der gleichen Zeitreihe in verschiedenen Zeitfenstern dargestellt!</a:t>
            </a:r>
          </a:p>
          <a:p>
            <a:pPr marL="0" indent="0">
              <a:buNone/>
            </a:pPr>
            <a:r>
              <a:rPr lang="de-DE" i="1" dirty="0" smtClean="0"/>
              <a:t>(1Tag versus 1Monat)</a:t>
            </a:r>
            <a:endParaRPr lang="de-DE" i="1" dirty="0"/>
          </a:p>
        </p:txBody>
      </p:sp>
    </p:spTree>
    <p:extLst>
      <p:ext uri="{BB962C8B-B14F-4D97-AF65-F5344CB8AC3E}">
        <p14:creationId xmlns:p14="http://schemas.microsoft.com/office/powerpoint/2010/main" val="364549117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000" i="0" dirty="0"/>
              <a:t>Feature </a:t>
            </a:r>
            <a:r>
              <a:rPr lang="de-DE" sz="2000" i="0" dirty="0" err="1" smtClean="0"/>
              <a:t>Extraction</a:t>
            </a:r>
            <a:r>
              <a:rPr lang="de-DE" sz="2000" i="0" dirty="0"/>
              <a:t> </a:t>
            </a:r>
            <a:r>
              <a:rPr lang="de-DE" sz="2000" i="0" dirty="0" smtClean="0"/>
              <a:t>über </a:t>
            </a:r>
            <a:r>
              <a:rPr lang="de-DE" sz="2000" i="0" dirty="0"/>
              <a:t>Volatilität</a:t>
            </a:r>
            <a:endParaRPr lang="de-DE" sz="200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0E5539-D4DE-4918-9DA7-2B133DB5C73F}" type="datetime1">
              <a:rPr lang="de-DE" smtClean="0"/>
              <a:t>19.09.2017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 smtClean="0"/>
              <a:t>CDO-Orga: Welcome Kick-Off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DFEA48-2D48-4EF5-B029-0B8993B9B72D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9" name="Picture 6"/>
          <p:cNvPicPr>
            <a:picLocks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7" t="8551" r="547" b="14185"/>
          <a:stretch/>
        </p:blipFill>
        <p:spPr bwMode="auto">
          <a:xfrm>
            <a:off x="564252" y="1729854"/>
            <a:ext cx="8985956" cy="4933245"/>
          </a:xfrm>
          <a:prstGeom prst="rect">
            <a:avLst/>
          </a:prstGeom>
          <a:solidFill>
            <a:srgbClr val="C00000"/>
          </a:solidFill>
          <a:ln>
            <a:solidFill>
              <a:schemeClr val="accent1"/>
            </a:solidFill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10" name="Rechteck 9"/>
          <p:cNvSpPr/>
          <p:nvPr/>
        </p:nvSpPr>
        <p:spPr>
          <a:xfrm>
            <a:off x="3624885" y="2464475"/>
            <a:ext cx="2606582" cy="3464001"/>
          </a:xfrm>
          <a:prstGeom prst="rect">
            <a:avLst/>
          </a:prstGeom>
          <a:noFill/>
          <a:ln w="635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3142870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000" i="0" dirty="0"/>
              <a:t>Volatilität</a:t>
            </a:r>
            <a:r>
              <a:rPr lang="de-DE" sz="2000" i="0" dirty="0" smtClean="0"/>
              <a:t> der Zeitreihe</a:t>
            </a:r>
            <a:endParaRPr lang="de-DE" sz="2000" i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8" y="1584325"/>
            <a:ext cx="2542560" cy="5400675"/>
          </a:xfrm>
        </p:spPr>
        <p:txBody>
          <a:bodyPr>
            <a:normAutofit/>
          </a:bodyPr>
          <a:lstStyle/>
          <a:p>
            <a:r>
              <a:rPr lang="de-DE" dirty="0" smtClean="0"/>
              <a:t>Volatilität: Zeitliche Änderung einer Zeitreihe (s. Aktienanalyse)</a:t>
            </a:r>
          </a:p>
          <a:p>
            <a:r>
              <a:rPr lang="de-DE" dirty="0" smtClean="0"/>
              <a:t>Könnte </a:t>
            </a:r>
            <a:r>
              <a:rPr lang="de-DE" dirty="0" smtClean="0"/>
              <a:t>eine </a:t>
            </a:r>
            <a:r>
              <a:rPr lang="de-DE" b="1" dirty="0" smtClean="0"/>
              <a:t>Transformation</a:t>
            </a:r>
            <a:r>
              <a:rPr lang="de-DE" dirty="0" smtClean="0"/>
              <a:t> im Schritt der </a:t>
            </a:r>
            <a:r>
              <a:rPr lang="de-DE" dirty="0" err="1" smtClean="0"/>
              <a:t>features</a:t>
            </a:r>
            <a:r>
              <a:rPr lang="de-DE" dirty="0" smtClean="0"/>
              <a:t> </a:t>
            </a:r>
            <a:r>
              <a:rPr lang="de-DE" dirty="0" err="1" smtClean="0"/>
              <a:t>extraction</a:t>
            </a:r>
            <a:r>
              <a:rPr lang="de-DE" dirty="0" smtClean="0"/>
              <a:t> </a:t>
            </a:r>
            <a:r>
              <a:rPr lang="de-DE" dirty="0" smtClean="0"/>
              <a:t>sein</a:t>
            </a:r>
          </a:p>
          <a:p>
            <a:endParaRPr lang="de-DE" dirty="0"/>
          </a:p>
          <a:p>
            <a:r>
              <a:rPr lang="de-DE" dirty="0" smtClean="0"/>
              <a:t>Warmwassertemperatur </a:t>
            </a:r>
            <a:r>
              <a:rPr lang="de-DE" dirty="0"/>
              <a:t>schwankt deutlich währen den Mittagsstunden (12:00)</a:t>
            </a:r>
          </a:p>
          <a:p>
            <a:pPr lvl="1"/>
            <a:r>
              <a:rPr lang="de-DE" dirty="0"/>
              <a:t>Rückschluss auf Verbrauch</a:t>
            </a:r>
          </a:p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0E5539-D4DE-4918-9DA7-2B133DB5C73F}" type="datetime1">
              <a:rPr lang="de-DE" smtClean="0"/>
              <a:t>19.09.2017</a:t>
            </a:fld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DFEA48-2D48-4EF5-B029-0B8993B9B72D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en-US" dirty="0" err="1"/>
              <a:t>Teil</a:t>
            </a:r>
            <a:r>
              <a:rPr lang="en-US" dirty="0"/>
              <a:t> II: </a:t>
            </a:r>
            <a:r>
              <a:rPr lang="en-US" dirty="0" err="1"/>
              <a:t>Einführung</a:t>
            </a:r>
            <a:r>
              <a:rPr lang="en-US" dirty="0"/>
              <a:t> temporal Data Mining</a:t>
            </a:r>
          </a:p>
          <a:p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 smtClean="0"/>
              <a:t>Dr. Thrun</a:t>
            </a:r>
            <a:endParaRPr lang="de-DE" dirty="0"/>
          </a:p>
        </p:txBody>
      </p:sp>
      <p:sp>
        <p:nvSpPr>
          <p:cNvPr id="9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3534409" y="7112498"/>
            <a:ext cx="4248000" cy="180000"/>
          </a:xfrm>
        </p:spPr>
        <p:txBody>
          <a:bodyPr/>
          <a:lstStyle/>
          <a:p>
            <a:pPr algn="r"/>
            <a:r>
              <a:rPr lang="de-DE" dirty="0" smtClean="0"/>
              <a:t>Data </a:t>
            </a:r>
            <a:r>
              <a:rPr lang="de-DE" dirty="0" err="1" smtClean="0"/>
              <a:t>Insights</a:t>
            </a:r>
            <a:r>
              <a:rPr lang="de-DE" dirty="0" smtClean="0"/>
              <a:t> unter Dr. Böhme</a:t>
            </a:r>
            <a:endParaRPr lang="de-DE" dirty="0"/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9546" y="4303931"/>
            <a:ext cx="5288079" cy="2808567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9546" y="1119785"/>
            <a:ext cx="5323003" cy="33448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381002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i="0" dirty="0" smtClean="0"/>
              <a:t>Mustererkennung über Cluster-Analyse</a:t>
            </a:r>
            <a:endParaRPr lang="de-DE" sz="2400" i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0E5539-D4DE-4918-9DA7-2B133DB5C73F}" type="datetime1">
              <a:rPr lang="de-DE" smtClean="0"/>
              <a:t>19.09.2017</a:t>
            </a:fld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DFEA48-2D48-4EF5-B029-0B8993B9B72D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en-US" dirty="0" err="1"/>
              <a:t>Teil</a:t>
            </a:r>
            <a:r>
              <a:rPr lang="en-US" dirty="0"/>
              <a:t> I: </a:t>
            </a:r>
            <a:r>
              <a:rPr lang="en-US" dirty="0" err="1"/>
              <a:t>Einführung</a:t>
            </a:r>
            <a:r>
              <a:rPr lang="en-US" dirty="0"/>
              <a:t> in Data </a:t>
            </a:r>
            <a:r>
              <a:rPr lang="en-US" dirty="0" smtClean="0"/>
              <a:t>Science</a:t>
            </a:r>
            <a:endParaRPr lang="en-US" dirty="0"/>
          </a:p>
        </p:txBody>
      </p:sp>
      <p:pic>
        <p:nvPicPr>
          <p:cNvPr id="9" name="Picture 6"/>
          <p:cNvPicPr>
            <a:picLocks noGrp="1"/>
          </p:cNvPicPr>
          <p:nvPr>
            <p:ph sz="half" idx="1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7" t="8551" r="547" b="14185"/>
          <a:stretch/>
        </p:blipFill>
        <p:spPr bwMode="auto">
          <a:xfrm>
            <a:off x="450849" y="1408714"/>
            <a:ext cx="9369359" cy="5263019"/>
          </a:xfrm>
          <a:prstGeom prst="rect">
            <a:avLst/>
          </a:prstGeom>
          <a:solidFill>
            <a:srgbClr val="C00000"/>
          </a:solidFill>
          <a:ln>
            <a:solidFill>
              <a:schemeClr val="accent1"/>
            </a:solidFill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11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3534409" y="7112498"/>
            <a:ext cx="4248000" cy="180000"/>
          </a:xfrm>
        </p:spPr>
        <p:txBody>
          <a:bodyPr/>
          <a:lstStyle/>
          <a:p>
            <a:pPr algn="r"/>
            <a:r>
              <a:rPr lang="de-DE" dirty="0" smtClean="0"/>
              <a:t>Data </a:t>
            </a:r>
            <a:r>
              <a:rPr lang="de-DE" dirty="0" err="1" smtClean="0"/>
              <a:t>Insights</a:t>
            </a:r>
            <a:r>
              <a:rPr lang="de-DE" dirty="0" smtClean="0"/>
              <a:t> unter Dr. Böhme</a:t>
            </a:r>
            <a:endParaRPr lang="de-DE" dirty="0"/>
          </a:p>
        </p:txBody>
      </p:sp>
      <p:sp>
        <p:nvSpPr>
          <p:cNvPr id="12" name="Textplatzhalter 7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/>
          <a:lstStyle/>
          <a:p>
            <a:r>
              <a:rPr lang="de-DE" dirty="0" smtClean="0"/>
              <a:t>Dr. Thrun</a:t>
            </a:r>
            <a:endParaRPr lang="de-DE" dirty="0"/>
          </a:p>
        </p:txBody>
      </p:sp>
      <p:sp>
        <p:nvSpPr>
          <p:cNvPr id="13" name="Rechteck 12"/>
          <p:cNvSpPr/>
          <p:nvPr/>
        </p:nvSpPr>
        <p:spPr>
          <a:xfrm>
            <a:off x="6186155" y="2327199"/>
            <a:ext cx="2159560" cy="3464001"/>
          </a:xfrm>
          <a:prstGeom prst="rect">
            <a:avLst/>
          </a:prstGeom>
          <a:noFill/>
          <a:ln w="635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Textplatzhalter 7"/>
          <p:cNvSpPr txBox="1">
            <a:spLocks/>
          </p:cNvSpPr>
          <p:nvPr/>
        </p:nvSpPr>
        <p:spPr>
          <a:xfrm>
            <a:off x="1466849" y="6931999"/>
            <a:ext cx="550412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 defTabSz="995690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chemeClr val="bg1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2563" indent="0" algn="l" defTabSz="995690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marL="357187" indent="0" algn="l" defTabSz="995690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marL="539750" indent="0" algn="l" defTabSz="995690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marL="712787" indent="0" algn="l" defTabSz="995690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73814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99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83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68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100" dirty="0" smtClean="0">
                <a:solidFill>
                  <a:schemeClr val="tx1"/>
                </a:solidFill>
              </a:rPr>
              <a:t>Thrun, M;.C.:</a:t>
            </a:r>
            <a:r>
              <a:rPr lang="en-US" sz="1100" dirty="0" smtClean="0">
                <a:solidFill>
                  <a:schemeClr val="tx1"/>
                </a:solidFill>
              </a:rPr>
              <a:t> </a:t>
            </a:r>
            <a:r>
              <a:rPr lang="en-US" sz="1100" i="1" dirty="0" smtClean="0">
                <a:solidFill>
                  <a:schemeClr val="tx1"/>
                </a:solidFill>
              </a:rPr>
              <a:t>A System for  Projection Based Clustering  through Self-Organization and  Swarm Intelligence</a:t>
            </a:r>
            <a:r>
              <a:rPr lang="en-US" sz="1100" dirty="0" smtClean="0">
                <a:solidFill>
                  <a:schemeClr val="tx1"/>
                </a:solidFill>
              </a:rPr>
              <a:t>, Springer, Heidelberg, 2017</a:t>
            </a:r>
            <a:endParaRPr lang="de-DE" sz="11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32355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Viessmann Divisionen">
  <a:themeElements>
    <a:clrScheme name="Viessmann">
      <a:dk1>
        <a:sysClr val="windowText" lastClr="000000"/>
      </a:dk1>
      <a:lt1>
        <a:srgbClr val="FFFFFF"/>
      </a:lt1>
      <a:dk2>
        <a:srgbClr val="555555"/>
      </a:dk2>
      <a:lt2>
        <a:srgbClr val="FFFFFF"/>
      </a:lt2>
      <a:accent1>
        <a:srgbClr val="D2D2D2"/>
      </a:accent1>
      <a:accent2>
        <a:srgbClr val="A8A8A8"/>
      </a:accent2>
      <a:accent3>
        <a:srgbClr val="787878"/>
      </a:accent3>
      <a:accent4>
        <a:srgbClr val="555555"/>
      </a:accent4>
      <a:accent5>
        <a:srgbClr val="F5231B"/>
      </a:accent5>
      <a:accent6>
        <a:srgbClr val="FF8B32"/>
      </a:accent6>
      <a:hlink>
        <a:srgbClr val="F5231B"/>
      </a:hlink>
      <a:folHlink>
        <a:srgbClr val="800080"/>
      </a:folHlink>
    </a:clrScheme>
    <a:fontScheme name="Viessmann Group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sz="16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1" id="{0E636F91-FB27-47BE-9523-D6B56FD784CC}" vid="{06D78E08-B81E-4AF2-8D7E-A4D7B0BDAE19}"/>
    </a:ext>
  </a:extLst>
</a:theme>
</file>

<file path=ppt/theme/theme2.xml><?xml version="1.0" encoding="utf-8"?>
<a:theme xmlns:a="http://schemas.openxmlformats.org/drawingml/2006/main" name="1_Viessmann Divisionen">
  <a:themeElements>
    <a:clrScheme name="Viessmann">
      <a:dk1>
        <a:sysClr val="windowText" lastClr="000000"/>
      </a:dk1>
      <a:lt1>
        <a:srgbClr val="FFFFFF"/>
      </a:lt1>
      <a:dk2>
        <a:srgbClr val="555555"/>
      </a:dk2>
      <a:lt2>
        <a:srgbClr val="FFFFFF"/>
      </a:lt2>
      <a:accent1>
        <a:srgbClr val="D2D2D2"/>
      </a:accent1>
      <a:accent2>
        <a:srgbClr val="A8A8A8"/>
      </a:accent2>
      <a:accent3>
        <a:srgbClr val="787878"/>
      </a:accent3>
      <a:accent4>
        <a:srgbClr val="555555"/>
      </a:accent4>
      <a:accent5>
        <a:srgbClr val="F5231B"/>
      </a:accent5>
      <a:accent6>
        <a:srgbClr val="FF8B32"/>
      </a:accent6>
      <a:hlink>
        <a:srgbClr val="F5231B"/>
      </a:hlink>
      <a:folHlink>
        <a:srgbClr val="800080"/>
      </a:folHlink>
    </a:clrScheme>
    <a:fontScheme name="Viessmann Group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Viessmann.pptx" id="{C03C4508-9A09-43CC-8577-FC3A7C1BE50C}" vid="{A6089ECD-C1E0-41AA-B937-16BB090F9DB7}"/>
    </a:ext>
  </a:extLst>
</a:theme>
</file>

<file path=ppt/theme/theme3.xml><?xml version="1.0" encoding="utf-8"?>
<a:theme xmlns:a="http://schemas.openxmlformats.org/drawingml/2006/main" name="2_Viessmann Divisionen">
  <a:themeElements>
    <a:clrScheme name="Viessmann">
      <a:dk1>
        <a:sysClr val="windowText" lastClr="000000"/>
      </a:dk1>
      <a:lt1>
        <a:srgbClr val="FFFFFF"/>
      </a:lt1>
      <a:dk2>
        <a:srgbClr val="555555"/>
      </a:dk2>
      <a:lt2>
        <a:srgbClr val="FFFFFF"/>
      </a:lt2>
      <a:accent1>
        <a:srgbClr val="D2D2D2"/>
      </a:accent1>
      <a:accent2>
        <a:srgbClr val="A8A8A8"/>
      </a:accent2>
      <a:accent3>
        <a:srgbClr val="787878"/>
      </a:accent3>
      <a:accent4>
        <a:srgbClr val="555555"/>
      </a:accent4>
      <a:accent5>
        <a:srgbClr val="F5231B"/>
      </a:accent5>
      <a:accent6>
        <a:srgbClr val="FF8B32"/>
      </a:accent6>
      <a:hlink>
        <a:srgbClr val="F5231B"/>
      </a:hlink>
      <a:folHlink>
        <a:srgbClr val="800080"/>
      </a:folHlink>
    </a:clrScheme>
    <a:fontScheme name="Viessmann Group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sz="16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1" id="{0E636F91-FB27-47BE-9523-D6B56FD784CC}" vid="{06D78E08-B81E-4AF2-8D7E-A4D7B0BDAE19}"/>
    </a:ext>
  </a:extLst>
</a:theme>
</file>

<file path=ppt/theme/theme4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077</Words>
  <Application>Microsoft Office PowerPoint</Application>
  <PresentationFormat>Benutzerdefiniert</PresentationFormat>
  <Paragraphs>177</Paragraphs>
  <Slides>15</Slides>
  <Notes>2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5</vt:i4>
      </vt:variant>
    </vt:vector>
  </HeadingPairs>
  <TitlesOfParts>
    <vt:vector size="23" baseType="lpstr">
      <vt:lpstr>Arial</vt:lpstr>
      <vt:lpstr>Calibri</vt:lpstr>
      <vt:lpstr>Noto Sans Symbols</vt:lpstr>
      <vt:lpstr>Wingdings</vt:lpstr>
      <vt:lpstr>Viessmann Divisionen</vt:lpstr>
      <vt:lpstr>1_Viessmann Divisionen</vt:lpstr>
      <vt:lpstr>2_Viessmann Divisionen</vt:lpstr>
      <vt:lpstr>think-cell Folie</vt:lpstr>
      <vt:lpstr>PowerPoint-Präsentation</vt:lpstr>
      <vt:lpstr>Temporal Data Mining</vt:lpstr>
      <vt:lpstr>Spezielle Herausforderungen bei der Analyse von Zeitreihen</vt:lpstr>
      <vt:lpstr>Temporal Data Mining</vt:lpstr>
      <vt:lpstr>Feature Selection: Temperatur-Warmwasser</vt:lpstr>
      <vt:lpstr>Welches Zeitfenster?</vt:lpstr>
      <vt:lpstr>Feature Extraction über Volatilität</vt:lpstr>
      <vt:lpstr>Volatilität der Zeitreihe</vt:lpstr>
      <vt:lpstr>Mustererkennung über Cluster-Analyse</vt:lpstr>
      <vt:lpstr>KD: Was ist Ähnlichkeit?</vt:lpstr>
      <vt:lpstr>Mustererkennung über Cluster-Analyse</vt:lpstr>
      <vt:lpstr>Werkzeugkasten: Mögliche Analyse-Ansätze für Zeitreihen</vt:lpstr>
      <vt:lpstr>Hidden Markov Model</vt:lpstr>
      <vt:lpstr>Zusammenfassung</vt:lpstr>
      <vt:lpstr>PowerPoint-Präsentation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7-05-15T09:58:08Z</dcterms:created>
  <dcterms:modified xsi:type="dcterms:W3CDTF">2017-09-19T10:55:31Z</dcterms:modified>
</cp:coreProperties>
</file>